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 id="2147483680" r:id="rId3"/>
    <p:sldMasterId id="2147483689" r:id="rId4"/>
    <p:sldMasterId id="2147483694" r:id="rId5"/>
    <p:sldMasterId id="2147483700" r:id="rId6"/>
    <p:sldMasterId id="2147483726" r:id="rId7"/>
  </p:sldMasterIdLst>
  <p:notesMasterIdLst>
    <p:notesMasterId r:id="rId39"/>
  </p:notesMasterIdLst>
  <p:sldIdLst>
    <p:sldId id="256" r:id="rId8"/>
    <p:sldId id="258" r:id="rId9"/>
    <p:sldId id="867" r:id="rId10"/>
    <p:sldId id="2076137944" r:id="rId11"/>
    <p:sldId id="268" r:id="rId12"/>
    <p:sldId id="2076137945" r:id="rId13"/>
    <p:sldId id="2076137886" r:id="rId14"/>
    <p:sldId id="2076137899" r:id="rId15"/>
    <p:sldId id="2076137906" r:id="rId16"/>
    <p:sldId id="2076137910" r:id="rId17"/>
    <p:sldId id="2076137909" r:id="rId18"/>
    <p:sldId id="2076137911" r:id="rId19"/>
    <p:sldId id="2076137877" r:id="rId20"/>
    <p:sldId id="2076137903" r:id="rId21"/>
    <p:sldId id="2076137905" r:id="rId22"/>
    <p:sldId id="273" r:id="rId23"/>
    <p:sldId id="2076137946" r:id="rId24"/>
    <p:sldId id="282" r:id="rId25"/>
    <p:sldId id="284" r:id="rId26"/>
    <p:sldId id="295" r:id="rId27"/>
    <p:sldId id="285" r:id="rId28"/>
    <p:sldId id="286" r:id="rId29"/>
    <p:sldId id="288" r:id="rId30"/>
    <p:sldId id="287" r:id="rId31"/>
    <p:sldId id="293" r:id="rId32"/>
    <p:sldId id="292" r:id="rId33"/>
    <p:sldId id="294" r:id="rId34"/>
    <p:sldId id="290" r:id="rId35"/>
    <p:sldId id="291" r:id="rId36"/>
    <p:sldId id="296" r:id="rId37"/>
    <p:sldId id="257"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792" autoAdjust="0"/>
  </p:normalViewPr>
  <p:slideViewPr>
    <p:cSldViewPr snapToGrid="0">
      <p:cViewPr varScale="1">
        <p:scale>
          <a:sx n="120" d="100"/>
          <a:sy n="120" d="100"/>
        </p:scale>
        <p:origin x="114" y="24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GAIZE DAVOINE Clarisse" userId="dd278aad-65e0-4c3f-81be-c018d57c11a6" providerId="ADAL" clId="{85E06D13-4BE8-40D8-8C76-EA585A969BA3}"/>
    <pc:docChg chg="delSld delMainMaster">
      <pc:chgData name="LAGAIZE DAVOINE Clarisse" userId="dd278aad-65e0-4c3f-81be-c018d57c11a6" providerId="ADAL" clId="{85E06D13-4BE8-40D8-8C76-EA585A969BA3}" dt="2022-12-12T13:19:57.253" v="6" actId="47"/>
      <pc:docMkLst>
        <pc:docMk/>
      </pc:docMkLst>
      <pc:sldChg chg="del">
        <pc:chgData name="LAGAIZE DAVOINE Clarisse" userId="dd278aad-65e0-4c3f-81be-c018d57c11a6" providerId="ADAL" clId="{85E06D13-4BE8-40D8-8C76-EA585A969BA3}" dt="2022-12-12T13:15:05.858" v="0" actId="47"/>
        <pc:sldMkLst>
          <pc:docMk/>
          <pc:sldMk cId="3876012840" sldId="261"/>
        </pc:sldMkLst>
      </pc:sldChg>
      <pc:sldChg chg="del">
        <pc:chgData name="LAGAIZE DAVOINE Clarisse" userId="dd278aad-65e0-4c3f-81be-c018d57c11a6" providerId="ADAL" clId="{85E06D13-4BE8-40D8-8C76-EA585A969BA3}" dt="2022-12-12T13:15:05.858" v="0" actId="47"/>
        <pc:sldMkLst>
          <pc:docMk/>
          <pc:sldMk cId="132790269" sldId="262"/>
        </pc:sldMkLst>
      </pc:sldChg>
      <pc:sldChg chg="del">
        <pc:chgData name="LAGAIZE DAVOINE Clarisse" userId="dd278aad-65e0-4c3f-81be-c018d57c11a6" providerId="ADAL" clId="{85E06D13-4BE8-40D8-8C76-EA585A969BA3}" dt="2022-12-12T13:15:05.858" v="0" actId="47"/>
        <pc:sldMkLst>
          <pc:docMk/>
          <pc:sldMk cId="2123501766" sldId="263"/>
        </pc:sldMkLst>
      </pc:sldChg>
      <pc:sldChg chg="del">
        <pc:chgData name="LAGAIZE DAVOINE Clarisse" userId="dd278aad-65e0-4c3f-81be-c018d57c11a6" providerId="ADAL" clId="{85E06D13-4BE8-40D8-8C76-EA585A969BA3}" dt="2022-12-12T13:15:05.858" v="0" actId="47"/>
        <pc:sldMkLst>
          <pc:docMk/>
          <pc:sldMk cId="1975859439" sldId="264"/>
        </pc:sldMkLst>
      </pc:sldChg>
      <pc:sldChg chg="del">
        <pc:chgData name="LAGAIZE DAVOINE Clarisse" userId="dd278aad-65e0-4c3f-81be-c018d57c11a6" providerId="ADAL" clId="{85E06D13-4BE8-40D8-8C76-EA585A969BA3}" dt="2022-12-12T13:15:05.858" v="0" actId="47"/>
        <pc:sldMkLst>
          <pc:docMk/>
          <pc:sldMk cId="451760560" sldId="265"/>
        </pc:sldMkLst>
      </pc:sldChg>
      <pc:sldChg chg="del">
        <pc:chgData name="LAGAIZE DAVOINE Clarisse" userId="dd278aad-65e0-4c3f-81be-c018d57c11a6" providerId="ADAL" clId="{85E06D13-4BE8-40D8-8C76-EA585A969BA3}" dt="2022-12-12T13:15:05.858" v="0" actId="47"/>
        <pc:sldMkLst>
          <pc:docMk/>
          <pc:sldMk cId="942343862" sldId="266"/>
        </pc:sldMkLst>
      </pc:sldChg>
      <pc:sldChg chg="del">
        <pc:chgData name="LAGAIZE DAVOINE Clarisse" userId="dd278aad-65e0-4c3f-81be-c018d57c11a6" providerId="ADAL" clId="{85E06D13-4BE8-40D8-8C76-EA585A969BA3}" dt="2022-12-12T13:15:05.858" v="0" actId="47"/>
        <pc:sldMkLst>
          <pc:docMk/>
          <pc:sldMk cId="2942183104" sldId="267"/>
        </pc:sldMkLst>
      </pc:sldChg>
      <pc:sldChg chg="del">
        <pc:chgData name="LAGAIZE DAVOINE Clarisse" userId="dd278aad-65e0-4c3f-81be-c018d57c11a6" providerId="ADAL" clId="{85E06D13-4BE8-40D8-8C76-EA585A969BA3}" dt="2022-12-12T13:15:26.519" v="2" actId="47"/>
        <pc:sldMkLst>
          <pc:docMk/>
          <pc:sldMk cId="2639083388" sldId="269"/>
        </pc:sldMkLst>
      </pc:sldChg>
      <pc:sldChg chg="del">
        <pc:chgData name="LAGAIZE DAVOINE Clarisse" userId="dd278aad-65e0-4c3f-81be-c018d57c11a6" providerId="ADAL" clId="{85E06D13-4BE8-40D8-8C76-EA585A969BA3}" dt="2022-12-12T13:15:05.858" v="0" actId="47"/>
        <pc:sldMkLst>
          <pc:docMk/>
          <pc:sldMk cId="2016866957" sldId="270"/>
        </pc:sldMkLst>
      </pc:sldChg>
      <pc:sldChg chg="del">
        <pc:chgData name="LAGAIZE DAVOINE Clarisse" userId="dd278aad-65e0-4c3f-81be-c018d57c11a6" providerId="ADAL" clId="{85E06D13-4BE8-40D8-8C76-EA585A969BA3}" dt="2022-12-12T13:19:57.253" v="6" actId="47"/>
        <pc:sldMkLst>
          <pc:docMk/>
          <pc:sldMk cId="4203482251" sldId="271"/>
        </pc:sldMkLst>
      </pc:sldChg>
      <pc:sldChg chg="del">
        <pc:chgData name="LAGAIZE DAVOINE Clarisse" userId="dd278aad-65e0-4c3f-81be-c018d57c11a6" providerId="ADAL" clId="{85E06D13-4BE8-40D8-8C76-EA585A969BA3}" dt="2022-12-12T13:15:29.197" v="3" actId="47"/>
        <pc:sldMkLst>
          <pc:docMk/>
          <pc:sldMk cId="2301231132" sldId="272"/>
        </pc:sldMkLst>
      </pc:sldChg>
      <pc:sldChg chg="del">
        <pc:chgData name="LAGAIZE DAVOINE Clarisse" userId="dd278aad-65e0-4c3f-81be-c018d57c11a6" providerId="ADAL" clId="{85E06D13-4BE8-40D8-8C76-EA585A969BA3}" dt="2022-12-12T13:15:32.940" v="4" actId="47"/>
        <pc:sldMkLst>
          <pc:docMk/>
          <pc:sldMk cId="2634871547" sldId="274"/>
        </pc:sldMkLst>
      </pc:sldChg>
      <pc:sldChg chg="del">
        <pc:chgData name="LAGAIZE DAVOINE Clarisse" userId="dd278aad-65e0-4c3f-81be-c018d57c11a6" providerId="ADAL" clId="{85E06D13-4BE8-40D8-8C76-EA585A969BA3}" dt="2022-12-12T13:15:42.075" v="5" actId="47"/>
        <pc:sldMkLst>
          <pc:docMk/>
          <pc:sldMk cId="2237409053" sldId="275"/>
        </pc:sldMkLst>
      </pc:sldChg>
      <pc:sldChg chg="del">
        <pc:chgData name="LAGAIZE DAVOINE Clarisse" userId="dd278aad-65e0-4c3f-81be-c018d57c11a6" providerId="ADAL" clId="{85E06D13-4BE8-40D8-8C76-EA585A969BA3}" dt="2022-12-12T13:15:05.858" v="0" actId="47"/>
        <pc:sldMkLst>
          <pc:docMk/>
          <pc:sldMk cId="3234278703" sldId="279"/>
        </pc:sldMkLst>
      </pc:sldChg>
      <pc:sldChg chg="del">
        <pc:chgData name="LAGAIZE DAVOINE Clarisse" userId="dd278aad-65e0-4c3f-81be-c018d57c11a6" providerId="ADAL" clId="{85E06D13-4BE8-40D8-8C76-EA585A969BA3}" dt="2022-12-12T13:15:05.858" v="0" actId="47"/>
        <pc:sldMkLst>
          <pc:docMk/>
          <pc:sldMk cId="3399286492" sldId="289"/>
        </pc:sldMkLst>
      </pc:sldChg>
      <pc:sldChg chg="del">
        <pc:chgData name="LAGAIZE DAVOINE Clarisse" userId="dd278aad-65e0-4c3f-81be-c018d57c11a6" providerId="ADAL" clId="{85E06D13-4BE8-40D8-8C76-EA585A969BA3}" dt="2022-12-12T13:15:05.858" v="0" actId="47"/>
        <pc:sldMkLst>
          <pc:docMk/>
          <pc:sldMk cId="745647575" sldId="297"/>
        </pc:sldMkLst>
      </pc:sldChg>
      <pc:sldChg chg="del">
        <pc:chgData name="LAGAIZE DAVOINE Clarisse" userId="dd278aad-65e0-4c3f-81be-c018d57c11a6" providerId="ADAL" clId="{85E06D13-4BE8-40D8-8C76-EA585A969BA3}" dt="2022-12-12T13:15:05.858" v="0" actId="47"/>
        <pc:sldMkLst>
          <pc:docMk/>
          <pc:sldMk cId="1929517865" sldId="300"/>
        </pc:sldMkLst>
      </pc:sldChg>
      <pc:sldChg chg="del">
        <pc:chgData name="LAGAIZE DAVOINE Clarisse" userId="dd278aad-65e0-4c3f-81be-c018d57c11a6" providerId="ADAL" clId="{85E06D13-4BE8-40D8-8C76-EA585A969BA3}" dt="2022-12-12T13:15:05.858" v="0" actId="47"/>
        <pc:sldMkLst>
          <pc:docMk/>
          <pc:sldMk cId="3124185491" sldId="304"/>
        </pc:sldMkLst>
      </pc:sldChg>
      <pc:sldChg chg="del">
        <pc:chgData name="LAGAIZE DAVOINE Clarisse" userId="dd278aad-65e0-4c3f-81be-c018d57c11a6" providerId="ADAL" clId="{85E06D13-4BE8-40D8-8C76-EA585A969BA3}" dt="2022-12-12T13:15:05.858" v="0" actId="47"/>
        <pc:sldMkLst>
          <pc:docMk/>
          <pc:sldMk cId="731116749" sldId="305"/>
        </pc:sldMkLst>
      </pc:sldChg>
      <pc:sldChg chg="del">
        <pc:chgData name="LAGAIZE DAVOINE Clarisse" userId="dd278aad-65e0-4c3f-81be-c018d57c11a6" providerId="ADAL" clId="{85E06D13-4BE8-40D8-8C76-EA585A969BA3}" dt="2022-12-12T13:15:05.858" v="0" actId="47"/>
        <pc:sldMkLst>
          <pc:docMk/>
          <pc:sldMk cId="1744076470" sldId="307"/>
        </pc:sldMkLst>
      </pc:sldChg>
      <pc:sldChg chg="del">
        <pc:chgData name="LAGAIZE DAVOINE Clarisse" userId="dd278aad-65e0-4c3f-81be-c018d57c11a6" providerId="ADAL" clId="{85E06D13-4BE8-40D8-8C76-EA585A969BA3}" dt="2022-12-12T13:15:05.858" v="0" actId="47"/>
        <pc:sldMkLst>
          <pc:docMk/>
          <pc:sldMk cId="1280521175" sldId="308"/>
        </pc:sldMkLst>
      </pc:sldChg>
      <pc:sldChg chg="del">
        <pc:chgData name="LAGAIZE DAVOINE Clarisse" userId="dd278aad-65e0-4c3f-81be-c018d57c11a6" providerId="ADAL" clId="{85E06D13-4BE8-40D8-8C76-EA585A969BA3}" dt="2022-12-12T13:15:05.858" v="0" actId="47"/>
        <pc:sldMkLst>
          <pc:docMk/>
          <pc:sldMk cId="1134371933" sldId="314"/>
        </pc:sldMkLst>
      </pc:sldChg>
      <pc:sldChg chg="del">
        <pc:chgData name="LAGAIZE DAVOINE Clarisse" userId="dd278aad-65e0-4c3f-81be-c018d57c11a6" providerId="ADAL" clId="{85E06D13-4BE8-40D8-8C76-EA585A969BA3}" dt="2022-12-12T13:15:05.858" v="0" actId="47"/>
        <pc:sldMkLst>
          <pc:docMk/>
          <pc:sldMk cId="670759486" sldId="315"/>
        </pc:sldMkLst>
      </pc:sldChg>
      <pc:sldChg chg="del">
        <pc:chgData name="LAGAIZE DAVOINE Clarisse" userId="dd278aad-65e0-4c3f-81be-c018d57c11a6" providerId="ADAL" clId="{85E06D13-4BE8-40D8-8C76-EA585A969BA3}" dt="2022-12-12T13:15:05.858" v="0" actId="47"/>
        <pc:sldMkLst>
          <pc:docMk/>
          <pc:sldMk cId="4021577361" sldId="316"/>
        </pc:sldMkLst>
      </pc:sldChg>
      <pc:sldChg chg="del">
        <pc:chgData name="LAGAIZE DAVOINE Clarisse" userId="dd278aad-65e0-4c3f-81be-c018d57c11a6" providerId="ADAL" clId="{85E06D13-4BE8-40D8-8C76-EA585A969BA3}" dt="2022-12-12T13:15:05.858" v="0" actId="47"/>
        <pc:sldMkLst>
          <pc:docMk/>
          <pc:sldMk cId="3987854671" sldId="317"/>
        </pc:sldMkLst>
      </pc:sldChg>
      <pc:sldChg chg="del">
        <pc:chgData name="LAGAIZE DAVOINE Clarisse" userId="dd278aad-65e0-4c3f-81be-c018d57c11a6" providerId="ADAL" clId="{85E06D13-4BE8-40D8-8C76-EA585A969BA3}" dt="2022-12-12T13:15:05.858" v="0" actId="47"/>
        <pc:sldMkLst>
          <pc:docMk/>
          <pc:sldMk cId="1259692873" sldId="318"/>
        </pc:sldMkLst>
      </pc:sldChg>
      <pc:sldChg chg="del">
        <pc:chgData name="LAGAIZE DAVOINE Clarisse" userId="dd278aad-65e0-4c3f-81be-c018d57c11a6" providerId="ADAL" clId="{85E06D13-4BE8-40D8-8C76-EA585A969BA3}" dt="2022-12-12T13:15:05.858" v="0" actId="47"/>
        <pc:sldMkLst>
          <pc:docMk/>
          <pc:sldMk cId="1062676444" sldId="319"/>
        </pc:sldMkLst>
      </pc:sldChg>
      <pc:sldChg chg="del">
        <pc:chgData name="LAGAIZE DAVOINE Clarisse" userId="dd278aad-65e0-4c3f-81be-c018d57c11a6" providerId="ADAL" clId="{85E06D13-4BE8-40D8-8C76-EA585A969BA3}" dt="2022-12-12T13:15:05.858" v="0" actId="47"/>
        <pc:sldMkLst>
          <pc:docMk/>
          <pc:sldMk cId="391348502" sldId="320"/>
        </pc:sldMkLst>
      </pc:sldChg>
      <pc:sldChg chg="del">
        <pc:chgData name="LAGAIZE DAVOINE Clarisse" userId="dd278aad-65e0-4c3f-81be-c018d57c11a6" providerId="ADAL" clId="{85E06D13-4BE8-40D8-8C76-EA585A969BA3}" dt="2022-12-12T13:15:05.858" v="0" actId="47"/>
        <pc:sldMkLst>
          <pc:docMk/>
          <pc:sldMk cId="2129763194" sldId="321"/>
        </pc:sldMkLst>
      </pc:sldChg>
      <pc:sldChg chg="del">
        <pc:chgData name="LAGAIZE DAVOINE Clarisse" userId="dd278aad-65e0-4c3f-81be-c018d57c11a6" providerId="ADAL" clId="{85E06D13-4BE8-40D8-8C76-EA585A969BA3}" dt="2022-12-12T13:15:05.858" v="0" actId="47"/>
        <pc:sldMkLst>
          <pc:docMk/>
          <pc:sldMk cId="2862724391" sldId="322"/>
        </pc:sldMkLst>
      </pc:sldChg>
      <pc:sldChg chg="del">
        <pc:chgData name="LAGAIZE DAVOINE Clarisse" userId="dd278aad-65e0-4c3f-81be-c018d57c11a6" providerId="ADAL" clId="{85E06D13-4BE8-40D8-8C76-EA585A969BA3}" dt="2022-12-12T13:15:05.858" v="0" actId="47"/>
        <pc:sldMkLst>
          <pc:docMk/>
          <pc:sldMk cId="1277635597" sldId="323"/>
        </pc:sldMkLst>
      </pc:sldChg>
      <pc:sldChg chg="del">
        <pc:chgData name="LAGAIZE DAVOINE Clarisse" userId="dd278aad-65e0-4c3f-81be-c018d57c11a6" providerId="ADAL" clId="{85E06D13-4BE8-40D8-8C76-EA585A969BA3}" dt="2022-12-12T13:15:05.858" v="0" actId="47"/>
        <pc:sldMkLst>
          <pc:docMk/>
          <pc:sldMk cId="620849645" sldId="324"/>
        </pc:sldMkLst>
      </pc:sldChg>
      <pc:sldChg chg="del">
        <pc:chgData name="LAGAIZE DAVOINE Clarisse" userId="dd278aad-65e0-4c3f-81be-c018d57c11a6" providerId="ADAL" clId="{85E06D13-4BE8-40D8-8C76-EA585A969BA3}" dt="2022-12-12T13:15:05.858" v="0" actId="47"/>
        <pc:sldMkLst>
          <pc:docMk/>
          <pc:sldMk cId="2829388817" sldId="325"/>
        </pc:sldMkLst>
      </pc:sldChg>
      <pc:sldChg chg="del">
        <pc:chgData name="LAGAIZE DAVOINE Clarisse" userId="dd278aad-65e0-4c3f-81be-c018d57c11a6" providerId="ADAL" clId="{85E06D13-4BE8-40D8-8C76-EA585A969BA3}" dt="2022-12-12T13:15:05.858" v="0" actId="47"/>
        <pc:sldMkLst>
          <pc:docMk/>
          <pc:sldMk cId="1438573900" sldId="326"/>
        </pc:sldMkLst>
      </pc:sldChg>
      <pc:sldChg chg="del">
        <pc:chgData name="LAGAIZE DAVOINE Clarisse" userId="dd278aad-65e0-4c3f-81be-c018d57c11a6" providerId="ADAL" clId="{85E06D13-4BE8-40D8-8C76-EA585A969BA3}" dt="2022-12-12T13:15:05.858" v="0" actId="47"/>
        <pc:sldMkLst>
          <pc:docMk/>
          <pc:sldMk cId="2415075176" sldId="327"/>
        </pc:sldMkLst>
      </pc:sldChg>
      <pc:sldChg chg="del">
        <pc:chgData name="LAGAIZE DAVOINE Clarisse" userId="dd278aad-65e0-4c3f-81be-c018d57c11a6" providerId="ADAL" clId="{85E06D13-4BE8-40D8-8C76-EA585A969BA3}" dt="2022-12-12T13:15:05.858" v="0" actId="47"/>
        <pc:sldMkLst>
          <pc:docMk/>
          <pc:sldMk cId="2837682904" sldId="328"/>
        </pc:sldMkLst>
      </pc:sldChg>
      <pc:sldChg chg="del">
        <pc:chgData name="LAGAIZE DAVOINE Clarisse" userId="dd278aad-65e0-4c3f-81be-c018d57c11a6" providerId="ADAL" clId="{85E06D13-4BE8-40D8-8C76-EA585A969BA3}" dt="2022-12-12T13:15:05.858" v="0" actId="47"/>
        <pc:sldMkLst>
          <pc:docMk/>
          <pc:sldMk cId="1209383001" sldId="329"/>
        </pc:sldMkLst>
      </pc:sldChg>
      <pc:sldChg chg="del">
        <pc:chgData name="LAGAIZE DAVOINE Clarisse" userId="dd278aad-65e0-4c3f-81be-c018d57c11a6" providerId="ADAL" clId="{85E06D13-4BE8-40D8-8C76-EA585A969BA3}" dt="2022-12-12T13:15:05.858" v="0" actId="47"/>
        <pc:sldMkLst>
          <pc:docMk/>
          <pc:sldMk cId="2214884752" sldId="330"/>
        </pc:sldMkLst>
      </pc:sldChg>
      <pc:sldChg chg="del">
        <pc:chgData name="LAGAIZE DAVOINE Clarisse" userId="dd278aad-65e0-4c3f-81be-c018d57c11a6" providerId="ADAL" clId="{85E06D13-4BE8-40D8-8C76-EA585A969BA3}" dt="2022-12-12T13:15:05.858" v="0" actId="47"/>
        <pc:sldMkLst>
          <pc:docMk/>
          <pc:sldMk cId="830927286" sldId="331"/>
        </pc:sldMkLst>
      </pc:sldChg>
      <pc:sldChg chg="del">
        <pc:chgData name="LAGAIZE DAVOINE Clarisse" userId="dd278aad-65e0-4c3f-81be-c018d57c11a6" providerId="ADAL" clId="{85E06D13-4BE8-40D8-8C76-EA585A969BA3}" dt="2022-12-12T13:15:05.858" v="0" actId="47"/>
        <pc:sldMkLst>
          <pc:docMk/>
          <pc:sldMk cId="847234942" sldId="332"/>
        </pc:sldMkLst>
      </pc:sldChg>
      <pc:sldChg chg="del">
        <pc:chgData name="LAGAIZE DAVOINE Clarisse" userId="dd278aad-65e0-4c3f-81be-c018d57c11a6" providerId="ADAL" clId="{85E06D13-4BE8-40D8-8C76-EA585A969BA3}" dt="2022-12-12T13:15:05.858" v="0" actId="47"/>
        <pc:sldMkLst>
          <pc:docMk/>
          <pc:sldMk cId="153584221" sldId="333"/>
        </pc:sldMkLst>
      </pc:sldChg>
      <pc:sldChg chg="del">
        <pc:chgData name="LAGAIZE DAVOINE Clarisse" userId="dd278aad-65e0-4c3f-81be-c018d57c11a6" providerId="ADAL" clId="{85E06D13-4BE8-40D8-8C76-EA585A969BA3}" dt="2022-12-12T13:15:05.858" v="0" actId="47"/>
        <pc:sldMkLst>
          <pc:docMk/>
          <pc:sldMk cId="592363386" sldId="334"/>
        </pc:sldMkLst>
      </pc:sldChg>
      <pc:sldChg chg="del">
        <pc:chgData name="LAGAIZE DAVOINE Clarisse" userId="dd278aad-65e0-4c3f-81be-c018d57c11a6" providerId="ADAL" clId="{85E06D13-4BE8-40D8-8C76-EA585A969BA3}" dt="2022-12-12T13:15:05.858" v="0" actId="47"/>
        <pc:sldMkLst>
          <pc:docMk/>
          <pc:sldMk cId="2477874536" sldId="336"/>
        </pc:sldMkLst>
      </pc:sldChg>
      <pc:sldChg chg="del">
        <pc:chgData name="LAGAIZE DAVOINE Clarisse" userId="dd278aad-65e0-4c3f-81be-c018d57c11a6" providerId="ADAL" clId="{85E06D13-4BE8-40D8-8C76-EA585A969BA3}" dt="2022-12-12T13:15:05.858" v="0" actId="47"/>
        <pc:sldMkLst>
          <pc:docMk/>
          <pc:sldMk cId="1305066783" sldId="338"/>
        </pc:sldMkLst>
      </pc:sldChg>
      <pc:sldChg chg="del">
        <pc:chgData name="LAGAIZE DAVOINE Clarisse" userId="dd278aad-65e0-4c3f-81be-c018d57c11a6" providerId="ADAL" clId="{85E06D13-4BE8-40D8-8C76-EA585A969BA3}" dt="2022-12-12T13:15:05.858" v="0" actId="47"/>
        <pc:sldMkLst>
          <pc:docMk/>
          <pc:sldMk cId="2912473159" sldId="339"/>
        </pc:sldMkLst>
      </pc:sldChg>
      <pc:sldChg chg="del">
        <pc:chgData name="LAGAIZE DAVOINE Clarisse" userId="dd278aad-65e0-4c3f-81be-c018d57c11a6" providerId="ADAL" clId="{85E06D13-4BE8-40D8-8C76-EA585A969BA3}" dt="2022-12-12T13:15:05.858" v="0" actId="47"/>
        <pc:sldMkLst>
          <pc:docMk/>
          <pc:sldMk cId="2939344556" sldId="340"/>
        </pc:sldMkLst>
      </pc:sldChg>
      <pc:sldChg chg="del">
        <pc:chgData name="LAGAIZE DAVOINE Clarisse" userId="dd278aad-65e0-4c3f-81be-c018d57c11a6" providerId="ADAL" clId="{85E06D13-4BE8-40D8-8C76-EA585A969BA3}" dt="2022-12-12T13:15:05.858" v="0" actId="47"/>
        <pc:sldMkLst>
          <pc:docMk/>
          <pc:sldMk cId="445240690" sldId="341"/>
        </pc:sldMkLst>
      </pc:sldChg>
      <pc:sldChg chg="del">
        <pc:chgData name="LAGAIZE DAVOINE Clarisse" userId="dd278aad-65e0-4c3f-81be-c018d57c11a6" providerId="ADAL" clId="{85E06D13-4BE8-40D8-8C76-EA585A969BA3}" dt="2022-12-12T13:15:05.858" v="0" actId="47"/>
        <pc:sldMkLst>
          <pc:docMk/>
          <pc:sldMk cId="1830420666" sldId="342"/>
        </pc:sldMkLst>
      </pc:sldChg>
      <pc:sldChg chg="del">
        <pc:chgData name="LAGAIZE DAVOINE Clarisse" userId="dd278aad-65e0-4c3f-81be-c018d57c11a6" providerId="ADAL" clId="{85E06D13-4BE8-40D8-8C76-EA585A969BA3}" dt="2022-12-12T13:15:05.858" v="0" actId="47"/>
        <pc:sldMkLst>
          <pc:docMk/>
          <pc:sldMk cId="2923695934" sldId="343"/>
        </pc:sldMkLst>
      </pc:sldChg>
      <pc:sldChg chg="del">
        <pc:chgData name="LAGAIZE DAVOINE Clarisse" userId="dd278aad-65e0-4c3f-81be-c018d57c11a6" providerId="ADAL" clId="{85E06D13-4BE8-40D8-8C76-EA585A969BA3}" dt="2022-12-12T13:15:05.858" v="0" actId="47"/>
        <pc:sldMkLst>
          <pc:docMk/>
          <pc:sldMk cId="4015035437" sldId="344"/>
        </pc:sldMkLst>
      </pc:sldChg>
      <pc:sldChg chg="del">
        <pc:chgData name="LAGAIZE DAVOINE Clarisse" userId="dd278aad-65e0-4c3f-81be-c018d57c11a6" providerId="ADAL" clId="{85E06D13-4BE8-40D8-8C76-EA585A969BA3}" dt="2022-12-12T13:15:05.858" v="0" actId="47"/>
        <pc:sldMkLst>
          <pc:docMk/>
          <pc:sldMk cId="3544636264" sldId="345"/>
        </pc:sldMkLst>
      </pc:sldChg>
      <pc:sldChg chg="del">
        <pc:chgData name="LAGAIZE DAVOINE Clarisse" userId="dd278aad-65e0-4c3f-81be-c018d57c11a6" providerId="ADAL" clId="{85E06D13-4BE8-40D8-8C76-EA585A969BA3}" dt="2022-12-12T13:19:57.253" v="6" actId="47"/>
        <pc:sldMkLst>
          <pc:docMk/>
          <pc:sldMk cId="807844677" sldId="401"/>
        </pc:sldMkLst>
      </pc:sldChg>
      <pc:sldChg chg="del">
        <pc:chgData name="LAGAIZE DAVOINE Clarisse" userId="dd278aad-65e0-4c3f-81be-c018d57c11a6" providerId="ADAL" clId="{85E06D13-4BE8-40D8-8C76-EA585A969BA3}" dt="2022-12-12T13:19:57.253" v="6" actId="47"/>
        <pc:sldMkLst>
          <pc:docMk/>
          <pc:sldMk cId="82810645" sldId="402"/>
        </pc:sldMkLst>
      </pc:sldChg>
      <pc:sldChg chg="del">
        <pc:chgData name="LAGAIZE DAVOINE Clarisse" userId="dd278aad-65e0-4c3f-81be-c018d57c11a6" providerId="ADAL" clId="{85E06D13-4BE8-40D8-8C76-EA585A969BA3}" dt="2022-12-12T13:19:57.253" v="6" actId="47"/>
        <pc:sldMkLst>
          <pc:docMk/>
          <pc:sldMk cId="2513891773" sldId="403"/>
        </pc:sldMkLst>
      </pc:sldChg>
      <pc:sldChg chg="del">
        <pc:chgData name="LAGAIZE DAVOINE Clarisse" userId="dd278aad-65e0-4c3f-81be-c018d57c11a6" providerId="ADAL" clId="{85E06D13-4BE8-40D8-8C76-EA585A969BA3}" dt="2022-12-12T13:19:57.253" v="6" actId="47"/>
        <pc:sldMkLst>
          <pc:docMk/>
          <pc:sldMk cId="1394047981" sldId="480"/>
        </pc:sldMkLst>
      </pc:sldChg>
      <pc:sldChg chg="del">
        <pc:chgData name="LAGAIZE DAVOINE Clarisse" userId="dd278aad-65e0-4c3f-81be-c018d57c11a6" providerId="ADAL" clId="{85E06D13-4BE8-40D8-8C76-EA585A969BA3}" dt="2022-12-12T13:19:57.253" v="6" actId="47"/>
        <pc:sldMkLst>
          <pc:docMk/>
          <pc:sldMk cId="3121153273" sldId="494"/>
        </pc:sldMkLst>
      </pc:sldChg>
      <pc:sldChg chg="del">
        <pc:chgData name="LAGAIZE DAVOINE Clarisse" userId="dd278aad-65e0-4c3f-81be-c018d57c11a6" providerId="ADAL" clId="{85E06D13-4BE8-40D8-8C76-EA585A969BA3}" dt="2022-12-12T13:19:57.253" v="6" actId="47"/>
        <pc:sldMkLst>
          <pc:docMk/>
          <pc:sldMk cId="4288189141" sldId="540"/>
        </pc:sldMkLst>
      </pc:sldChg>
      <pc:sldChg chg="del">
        <pc:chgData name="LAGAIZE DAVOINE Clarisse" userId="dd278aad-65e0-4c3f-81be-c018d57c11a6" providerId="ADAL" clId="{85E06D13-4BE8-40D8-8C76-EA585A969BA3}" dt="2022-12-12T13:19:57.253" v="6" actId="47"/>
        <pc:sldMkLst>
          <pc:docMk/>
          <pc:sldMk cId="1911975080" sldId="541"/>
        </pc:sldMkLst>
      </pc:sldChg>
      <pc:sldChg chg="del">
        <pc:chgData name="LAGAIZE DAVOINE Clarisse" userId="dd278aad-65e0-4c3f-81be-c018d57c11a6" providerId="ADAL" clId="{85E06D13-4BE8-40D8-8C76-EA585A969BA3}" dt="2022-12-12T13:19:57.253" v="6" actId="47"/>
        <pc:sldMkLst>
          <pc:docMk/>
          <pc:sldMk cId="299387989" sldId="548"/>
        </pc:sldMkLst>
      </pc:sldChg>
      <pc:sldChg chg="del">
        <pc:chgData name="LAGAIZE DAVOINE Clarisse" userId="dd278aad-65e0-4c3f-81be-c018d57c11a6" providerId="ADAL" clId="{85E06D13-4BE8-40D8-8C76-EA585A969BA3}" dt="2022-12-12T13:19:57.253" v="6" actId="47"/>
        <pc:sldMkLst>
          <pc:docMk/>
          <pc:sldMk cId="2566781851" sldId="549"/>
        </pc:sldMkLst>
      </pc:sldChg>
      <pc:sldChg chg="del">
        <pc:chgData name="LAGAIZE DAVOINE Clarisse" userId="dd278aad-65e0-4c3f-81be-c018d57c11a6" providerId="ADAL" clId="{85E06D13-4BE8-40D8-8C76-EA585A969BA3}" dt="2022-12-12T13:19:57.253" v="6" actId="47"/>
        <pc:sldMkLst>
          <pc:docMk/>
          <pc:sldMk cId="2745428432" sldId="551"/>
        </pc:sldMkLst>
      </pc:sldChg>
      <pc:sldChg chg="del">
        <pc:chgData name="LAGAIZE DAVOINE Clarisse" userId="dd278aad-65e0-4c3f-81be-c018d57c11a6" providerId="ADAL" clId="{85E06D13-4BE8-40D8-8C76-EA585A969BA3}" dt="2022-12-12T13:19:57.253" v="6" actId="47"/>
        <pc:sldMkLst>
          <pc:docMk/>
          <pc:sldMk cId="769381331" sldId="552"/>
        </pc:sldMkLst>
      </pc:sldChg>
      <pc:sldChg chg="del">
        <pc:chgData name="LAGAIZE DAVOINE Clarisse" userId="dd278aad-65e0-4c3f-81be-c018d57c11a6" providerId="ADAL" clId="{85E06D13-4BE8-40D8-8C76-EA585A969BA3}" dt="2022-12-12T13:19:57.253" v="6" actId="47"/>
        <pc:sldMkLst>
          <pc:docMk/>
          <pc:sldMk cId="825945171" sldId="553"/>
        </pc:sldMkLst>
      </pc:sldChg>
      <pc:sldChg chg="del">
        <pc:chgData name="LAGAIZE DAVOINE Clarisse" userId="dd278aad-65e0-4c3f-81be-c018d57c11a6" providerId="ADAL" clId="{85E06D13-4BE8-40D8-8C76-EA585A969BA3}" dt="2022-12-12T13:19:57.253" v="6" actId="47"/>
        <pc:sldMkLst>
          <pc:docMk/>
          <pc:sldMk cId="3779301168" sldId="731"/>
        </pc:sldMkLst>
      </pc:sldChg>
      <pc:sldChg chg="del">
        <pc:chgData name="LAGAIZE DAVOINE Clarisse" userId="dd278aad-65e0-4c3f-81be-c018d57c11a6" providerId="ADAL" clId="{85E06D13-4BE8-40D8-8C76-EA585A969BA3}" dt="2022-12-12T13:19:57.253" v="6" actId="47"/>
        <pc:sldMkLst>
          <pc:docMk/>
          <pc:sldMk cId="2003909931" sldId="743"/>
        </pc:sldMkLst>
      </pc:sldChg>
      <pc:sldChg chg="del">
        <pc:chgData name="LAGAIZE DAVOINE Clarisse" userId="dd278aad-65e0-4c3f-81be-c018d57c11a6" providerId="ADAL" clId="{85E06D13-4BE8-40D8-8C76-EA585A969BA3}" dt="2022-12-12T13:19:57.253" v="6" actId="47"/>
        <pc:sldMkLst>
          <pc:docMk/>
          <pc:sldMk cId="3281778687" sldId="744"/>
        </pc:sldMkLst>
      </pc:sldChg>
      <pc:sldChg chg="del">
        <pc:chgData name="LAGAIZE DAVOINE Clarisse" userId="dd278aad-65e0-4c3f-81be-c018d57c11a6" providerId="ADAL" clId="{85E06D13-4BE8-40D8-8C76-EA585A969BA3}" dt="2022-12-12T13:19:57.253" v="6" actId="47"/>
        <pc:sldMkLst>
          <pc:docMk/>
          <pc:sldMk cId="1207143164" sldId="745"/>
        </pc:sldMkLst>
      </pc:sldChg>
      <pc:sldChg chg="del">
        <pc:chgData name="LAGAIZE DAVOINE Clarisse" userId="dd278aad-65e0-4c3f-81be-c018d57c11a6" providerId="ADAL" clId="{85E06D13-4BE8-40D8-8C76-EA585A969BA3}" dt="2022-12-12T13:19:57.253" v="6" actId="47"/>
        <pc:sldMkLst>
          <pc:docMk/>
          <pc:sldMk cId="3035034759" sldId="746"/>
        </pc:sldMkLst>
      </pc:sldChg>
      <pc:sldChg chg="del">
        <pc:chgData name="LAGAIZE DAVOINE Clarisse" userId="dd278aad-65e0-4c3f-81be-c018d57c11a6" providerId="ADAL" clId="{85E06D13-4BE8-40D8-8C76-EA585A969BA3}" dt="2022-12-12T13:19:57.253" v="6" actId="47"/>
        <pc:sldMkLst>
          <pc:docMk/>
          <pc:sldMk cId="1271031136" sldId="747"/>
        </pc:sldMkLst>
      </pc:sldChg>
      <pc:sldChg chg="del">
        <pc:chgData name="LAGAIZE DAVOINE Clarisse" userId="dd278aad-65e0-4c3f-81be-c018d57c11a6" providerId="ADAL" clId="{85E06D13-4BE8-40D8-8C76-EA585A969BA3}" dt="2022-12-12T13:19:57.253" v="6" actId="47"/>
        <pc:sldMkLst>
          <pc:docMk/>
          <pc:sldMk cId="342553647" sldId="748"/>
        </pc:sldMkLst>
      </pc:sldChg>
      <pc:sldChg chg="del">
        <pc:chgData name="LAGAIZE DAVOINE Clarisse" userId="dd278aad-65e0-4c3f-81be-c018d57c11a6" providerId="ADAL" clId="{85E06D13-4BE8-40D8-8C76-EA585A969BA3}" dt="2022-12-12T13:19:57.253" v="6" actId="47"/>
        <pc:sldMkLst>
          <pc:docMk/>
          <pc:sldMk cId="3461864706" sldId="752"/>
        </pc:sldMkLst>
      </pc:sldChg>
      <pc:sldChg chg="del">
        <pc:chgData name="LAGAIZE DAVOINE Clarisse" userId="dd278aad-65e0-4c3f-81be-c018d57c11a6" providerId="ADAL" clId="{85E06D13-4BE8-40D8-8C76-EA585A969BA3}" dt="2022-12-12T13:19:57.253" v="6" actId="47"/>
        <pc:sldMkLst>
          <pc:docMk/>
          <pc:sldMk cId="1211276939" sldId="753"/>
        </pc:sldMkLst>
      </pc:sldChg>
      <pc:sldChg chg="del">
        <pc:chgData name="LAGAIZE DAVOINE Clarisse" userId="dd278aad-65e0-4c3f-81be-c018d57c11a6" providerId="ADAL" clId="{85E06D13-4BE8-40D8-8C76-EA585A969BA3}" dt="2022-12-12T13:19:57.253" v="6" actId="47"/>
        <pc:sldMkLst>
          <pc:docMk/>
          <pc:sldMk cId="1143395088" sldId="754"/>
        </pc:sldMkLst>
      </pc:sldChg>
      <pc:sldChg chg="del">
        <pc:chgData name="LAGAIZE DAVOINE Clarisse" userId="dd278aad-65e0-4c3f-81be-c018d57c11a6" providerId="ADAL" clId="{85E06D13-4BE8-40D8-8C76-EA585A969BA3}" dt="2022-12-12T13:19:57.253" v="6" actId="47"/>
        <pc:sldMkLst>
          <pc:docMk/>
          <pc:sldMk cId="296320670" sldId="755"/>
        </pc:sldMkLst>
      </pc:sldChg>
      <pc:sldChg chg="del">
        <pc:chgData name="LAGAIZE DAVOINE Clarisse" userId="dd278aad-65e0-4c3f-81be-c018d57c11a6" providerId="ADAL" clId="{85E06D13-4BE8-40D8-8C76-EA585A969BA3}" dt="2022-12-12T13:19:57.253" v="6" actId="47"/>
        <pc:sldMkLst>
          <pc:docMk/>
          <pc:sldMk cId="231855102" sldId="756"/>
        </pc:sldMkLst>
      </pc:sldChg>
      <pc:sldChg chg="del">
        <pc:chgData name="LAGAIZE DAVOINE Clarisse" userId="dd278aad-65e0-4c3f-81be-c018d57c11a6" providerId="ADAL" clId="{85E06D13-4BE8-40D8-8C76-EA585A969BA3}" dt="2022-12-12T13:19:57.253" v="6" actId="47"/>
        <pc:sldMkLst>
          <pc:docMk/>
          <pc:sldMk cId="1629179650" sldId="757"/>
        </pc:sldMkLst>
      </pc:sldChg>
      <pc:sldChg chg="del">
        <pc:chgData name="LAGAIZE DAVOINE Clarisse" userId="dd278aad-65e0-4c3f-81be-c018d57c11a6" providerId="ADAL" clId="{85E06D13-4BE8-40D8-8C76-EA585A969BA3}" dt="2022-12-12T13:19:57.253" v="6" actId="47"/>
        <pc:sldMkLst>
          <pc:docMk/>
          <pc:sldMk cId="3443729100" sldId="758"/>
        </pc:sldMkLst>
      </pc:sldChg>
      <pc:sldChg chg="del">
        <pc:chgData name="LAGAIZE DAVOINE Clarisse" userId="dd278aad-65e0-4c3f-81be-c018d57c11a6" providerId="ADAL" clId="{85E06D13-4BE8-40D8-8C76-EA585A969BA3}" dt="2022-12-12T13:19:57.253" v="6" actId="47"/>
        <pc:sldMkLst>
          <pc:docMk/>
          <pc:sldMk cId="1144848272" sldId="759"/>
        </pc:sldMkLst>
      </pc:sldChg>
      <pc:sldChg chg="del">
        <pc:chgData name="LAGAIZE DAVOINE Clarisse" userId="dd278aad-65e0-4c3f-81be-c018d57c11a6" providerId="ADAL" clId="{85E06D13-4BE8-40D8-8C76-EA585A969BA3}" dt="2022-12-12T13:19:57.253" v="6" actId="47"/>
        <pc:sldMkLst>
          <pc:docMk/>
          <pc:sldMk cId="2507458874" sldId="760"/>
        </pc:sldMkLst>
      </pc:sldChg>
      <pc:sldChg chg="del">
        <pc:chgData name="LAGAIZE DAVOINE Clarisse" userId="dd278aad-65e0-4c3f-81be-c018d57c11a6" providerId="ADAL" clId="{85E06D13-4BE8-40D8-8C76-EA585A969BA3}" dt="2022-12-12T13:19:57.253" v="6" actId="47"/>
        <pc:sldMkLst>
          <pc:docMk/>
          <pc:sldMk cId="1492677037" sldId="761"/>
        </pc:sldMkLst>
      </pc:sldChg>
      <pc:sldChg chg="del">
        <pc:chgData name="LAGAIZE DAVOINE Clarisse" userId="dd278aad-65e0-4c3f-81be-c018d57c11a6" providerId="ADAL" clId="{85E06D13-4BE8-40D8-8C76-EA585A969BA3}" dt="2022-12-12T13:19:57.253" v="6" actId="47"/>
        <pc:sldMkLst>
          <pc:docMk/>
          <pc:sldMk cId="170713474" sldId="762"/>
        </pc:sldMkLst>
      </pc:sldChg>
      <pc:sldChg chg="del">
        <pc:chgData name="LAGAIZE DAVOINE Clarisse" userId="dd278aad-65e0-4c3f-81be-c018d57c11a6" providerId="ADAL" clId="{85E06D13-4BE8-40D8-8C76-EA585A969BA3}" dt="2022-12-12T13:19:57.253" v="6" actId="47"/>
        <pc:sldMkLst>
          <pc:docMk/>
          <pc:sldMk cId="4263050259" sldId="763"/>
        </pc:sldMkLst>
      </pc:sldChg>
      <pc:sldChg chg="del">
        <pc:chgData name="LAGAIZE DAVOINE Clarisse" userId="dd278aad-65e0-4c3f-81be-c018d57c11a6" providerId="ADAL" clId="{85E06D13-4BE8-40D8-8C76-EA585A969BA3}" dt="2022-12-12T13:19:57.253" v="6" actId="47"/>
        <pc:sldMkLst>
          <pc:docMk/>
          <pc:sldMk cId="793476639" sldId="765"/>
        </pc:sldMkLst>
      </pc:sldChg>
      <pc:sldChg chg="del">
        <pc:chgData name="LAGAIZE DAVOINE Clarisse" userId="dd278aad-65e0-4c3f-81be-c018d57c11a6" providerId="ADAL" clId="{85E06D13-4BE8-40D8-8C76-EA585A969BA3}" dt="2022-12-12T13:19:57.253" v="6" actId="47"/>
        <pc:sldMkLst>
          <pc:docMk/>
          <pc:sldMk cId="2573013809" sldId="766"/>
        </pc:sldMkLst>
      </pc:sldChg>
      <pc:sldChg chg="del">
        <pc:chgData name="LAGAIZE DAVOINE Clarisse" userId="dd278aad-65e0-4c3f-81be-c018d57c11a6" providerId="ADAL" clId="{85E06D13-4BE8-40D8-8C76-EA585A969BA3}" dt="2022-12-12T13:19:57.253" v="6" actId="47"/>
        <pc:sldMkLst>
          <pc:docMk/>
          <pc:sldMk cId="1077553240" sldId="767"/>
        </pc:sldMkLst>
      </pc:sldChg>
      <pc:sldChg chg="del">
        <pc:chgData name="LAGAIZE DAVOINE Clarisse" userId="dd278aad-65e0-4c3f-81be-c018d57c11a6" providerId="ADAL" clId="{85E06D13-4BE8-40D8-8C76-EA585A969BA3}" dt="2022-12-12T13:19:57.253" v="6" actId="47"/>
        <pc:sldMkLst>
          <pc:docMk/>
          <pc:sldMk cId="1704457086" sldId="869"/>
        </pc:sldMkLst>
      </pc:sldChg>
      <pc:sldChg chg="del">
        <pc:chgData name="LAGAIZE DAVOINE Clarisse" userId="dd278aad-65e0-4c3f-81be-c018d57c11a6" providerId="ADAL" clId="{85E06D13-4BE8-40D8-8C76-EA585A969BA3}" dt="2022-12-12T13:19:57.253" v="6" actId="47"/>
        <pc:sldMkLst>
          <pc:docMk/>
          <pc:sldMk cId="2499228296" sldId="884"/>
        </pc:sldMkLst>
      </pc:sldChg>
      <pc:sldChg chg="del">
        <pc:chgData name="LAGAIZE DAVOINE Clarisse" userId="dd278aad-65e0-4c3f-81be-c018d57c11a6" providerId="ADAL" clId="{85E06D13-4BE8-40D8-8C76-EA585A969BA3}" dt="2022-12-12T13:19:57.253" v="6" actId="47"/>
        <pc:sldMkLst>
          <pc:docMk/>
          <pc:sldMk cId="2851522749" sldId="885"/>
        </pc:sldMkLst>
      </pc:sldChg>
      <pc:sldChg chg="del">
        <pc:chgData name="LAGAIZE DAVOINE Clarisse" userId="dd278aad-65e0-4c3f-81be-c018d57c11a6" providerId="ADAL" clId="{85E06D13-4BE8-40D8-8C76-EA585A969BA3}" dt="2022-12-12T13:19:57.253" v="6" actId="47"/>
        <pc:sldMkLst>
          <pc:docMk/>
          <pc:sldMk cId="354977119" sldId="886"/>
        </pc:sldMkLst>
      </pc:sldChg>
      <pc:sldChg chg="del">
        <pc:chgData name="LAGAIZE DAVOINE Clarisse" userId="dd278aad-65e0-4c3f-81be-c018d57c11a6" providerId="ADAL" clId="{85E06D13-4BE8-40D8-8C76-EA585A969BA3}" dt="2022-12-12T13:19:57.253" v="6" actId="47"/>
        <pc:sldMkLst>
          <pc:docMk/>
          <pc:sldMk cId="2272482834" sldId="887"/>
        </pc:sldMkLst>
      </pc:sldChg>
      <pc:sldChg chg="del">
        <pc:chgData name="LAGAIZE DAVOINE Clarisse" userId="dd278aad-65e0-4c3f-81be-c018d57c11a6" providerId="ADAL" clId="{85E06D13-4BE8-40D8-8C76-EA585A969BA3}" dt="2022-12-12T13:19:57.253" v="6" actId="47"/>
        <pc:sldMkLst>
          <pc:docMk/>
          <pc:sldMk cId="472266400" sldId="888"/>
        </pc:sldMkLst>
      </pc:sldChg>
      <pc:sldChg chg="del">
        <pc:chgData name="LAGAIZE DAVOINE Clarisse" userId="dd278aad-65e0-4c3f-81be-c018d57c11a6" providerId="ADAL" clId="{85E06D13-4BE8-40D8-8C76-EA585A969BA3}" dt="2022-12-12T13:15:10.325" v="1" actId="47"/>
        <pc:sldMkLst>
          <pc:docMk/>
          <pc:sldMk cId="3353024077" sldId="889"/>
        </pc:sldMkLst>
      </pc:sldChg>
      <pc:sldChg chg="del">
        <pc:chgData name="LAGAIZE DAVOINE Clarisse" userId="dd278aad-65e0-4c3f-81be-c018d57c11a6" providerId="ADAL" clId="{85E06D13-4BE8-40D8-8C76-EA585A969BA3}" dt="2022-12-12T13:19:57.253" v="6" actId="47"/>
        <pc:sldMkLst>
          <pc:docMk/>
          <pc:sldMk cId="1713479385" sldId="890"/>
        </pc:sldMkLst>
      </pc:sldChg>
      <pc:sldChg chg="del">
        <pc:chgData name="LAGAIZE DAVOINE Clarisse" userId="dd278aad-65e0-4c3f-81be-c018d57c11a6" providerId="ADAL" clId="{85E06D13-4BE8-40D8-8C76-EA585A969BA3}" dt="2022-12-12T13:15:05.858" v="0" actId="47"/>
        <pc:sldMkLst>
          <pc:docMk/>
          <pc:sldMk cId="1460742791" sldId="891"/>
        </pc:sldMkLst>
      </pc:sldChg>
      <pc:sldChg chg="del">
        <pc:chgData name="LAGAIZE DAVOINE Clarisse" userId="dd278aad-65e0-4c3f-81be-c018d57c11a6" providerId="ADAL" clId="{85E06D13-4BE8-40D8-8C76-EA585A969BA3}" dt="2022-12-12T13:15:05.858" v="0" actId="47"/>
        <pc:sldMkLst>
          <pc:docMk/>
          <pc:sldMk cId="3544088066" sldId="892"/>
        </pc:sldMkLst>
      </pc:sldChg>
      <pc:sldChg chg="del">
        <pc:chgData name="LAGAIZE DAVOINE Clarisse" userId="dd278aad-65e0-4c3f-81be-c018d57c11a6" providerId="ADAL" clId="{85E06D13-4BE8-40D8-8C76-EA585A969BA3}" dt="2022-12-12T13:15:05.858" v="0" actId="47"/>
        <pc:sldMkLst>
          <pc:docMk/>
          <pc:sldMk cId="1762732073" sldId="1745"/>
        </pc:sldMkLst>
      </pc:sldChg>
      <pc:sldChg chg="del">
        <pc:chgData name="LAGAIZE DAVOINE Clarisse" userId="dd278aad-65e0-4c3f-81be-c018d57c11a6" providerId="ADAL" clId="{85E06D13-4BE8-40D8-8C76-EA585A969BA3}" dt="2022-12-12T13:15:05.858" v="0" actId="47"/>
        <pc:sldMkLst>
          <pc:docMk/>
          <pc:sldMk cId="4132601824" sldId="1746"/>
        </pc:sldMkLst>
      </pc:sldChg>
      <pc:sldChg chg="del">
        <pc:chgData name="LAGAIZE DAVOINE Clarisse" userId="dd278aad-65e0-4c3f-81be-c018d57c11a6" providerId="ADAL" clId="{85E06D13-4BE8-40D8-8C76-EA585A969BA3}" dt="2022-12-12T13:15:05.858" v="0" actId="47"/>
        <pc:sldMkLst>
          <pc:docMk/>
          <pc:sldMk cId="1349641258" sldId="1747"/>
        </pc:sldMkLst>
      </pc:sldChg>
      <pc:sldChg chg="del">
        <pc:chgData name="LAGAIZE DAVOINE Clarisse" userId="dd278aad-65e0-4c3f-81be-c018d57c11a6" providerId="ADAL" clId="{85E06D13-4BE8-40D8-8C76-EA585A969BA3}" dt="2022-12-12T13:15:05.858" v="0" actId="47"/>
        <pc:sldMkLst>
          <pc:docMk/>
          <pc:sldMk cId="1536734252" sldId="1748"/>
        </pc:sldMkLst>
      </pc:sldChg>
      <pc:sldChg chg="del">
        <pc:chgData name="LAGAIZE DAVOINE Clarisse" userId="dd278aad-65e0-4c3f-81be-c018d57c11a6" providerId="ADAL" clId="{85E06D13-4BE8-40D8-8C76-EA585A969BA3}" dt="2022-12-12T13:15:05.858" v="0" actId="47"/>
        <pc:sldMkLst>
          <pc:docMk/>
          <pc:sldMk cId="1832010864" sldId="1749"/>
        </pc:sldMkLst>
      </pc:sldChg>
      <pc:sldChg chg="del">
        <pc:chgData name="LAGAIZE DAVOINE Clarisse" userId="dd278aad-65e0-4c3f-81be-c018d57c11a6" providerId="ADAL" clId="{85E06D13-4BE8-40D8-8C76-EA585A969BA3}" dt="2022-12-12T13:15:05.858" v="0" actId="47"/>
        <pc:sldMkLst>
          <pc:docMk/>
          <pc:sldMk cId="1382981779" sldId="1750"/>
        </pc:sldMkLst>
      </pc:sldChg>
      <pc:sldChg chg="del">
        <pc:chgData name="LAGAIZE DAVOINE Clarisse" userId="dd278aad-65e0-4c3f-81be-c018d57c11a6" providerId="ADAL" clId="{85E06D13-4BE8-40D8-8C76-EA585A969BA3}" dt="2022-12-12T13:15:05.858" v="0" actId="47"/>
        <pc:sldMkLst>
          <pc:docMk/>
          <pc:sldMk cId="972205489" sldId="1751"/>
        </pc:sldMkLst>
      </pc:sldChg>
      <pc:sldChg chg="del">
        <pc:chgData name="LAGAIZE DAVOINE Clarisse" userId="dd278aad-65e0-4c3f-81be-c018d57c11a6" providerId="ADAL" clId="{85E06D13-4BE8-40D8-8C76-EA585A969BA3}" dt="2022-12-12T13:15:05.858" v="0" actId="47"/>
        <pc:sldMkLst>
          <pc:docMk/>
          <pc:sldMk cId="2073475210" sldId="1753"/>
        </pc:sldMkLst>
      </pc:sldChg>
      <pc:sldChg chg="del">
        <pc:chgData name="LAGAIZE DAVOINE Clarisse" userId="dd278aad-65e0-4c3f-81be-c018d57c11a6" providerId="ADAL" clId="{85E06D13-4BE8-40D8-8C76-EA585A969BA3}" dt="2022-12-12T13:15:05.858" v="0" actId="47"/>
        <pc:sldMkLst>
          <pc:docMk/>
          <pc:sldMk cId="3060294902" sldId="1754"/>
        </pc:sldMkLst>
      </pc:sldChg>
      <pc:sldChg chg="del">
        <pc:chgData name="LAGAIZE DAVOINE Clarisse" userId="dd278aad-65e0-4c3f-81be-c018d57c11a6" providerId="ADAL" clId="{85E06D13-4BE8-40D8-8C76-EA585A969BA3}" dt="2022-12-12T13:15:05.858" v="0" actId="47"/>
        <pc:sldMkLst>
          <pc:docMk/>
          <pc:sldMk cId="3259468147" sldId="1755"/>
        </pc:sldMkLst>
      </pc:sldChg>
      <pc:sldChg chg="del">
        <pc:chgData name="LAGAIZE DAVOINE Clarisse" userId="dd278aad-65e0-4c3f-81be-c018d57c11a6" providerId="ADAL" clId="{85E06D13-4BE8-40D8-8C76-EA585A969BA3}" dt="2022-12-12T13:15:05.858" v="0" actId="47"/>
        <pc:sldMkLst>
          <pc:docMk/>
          <pc:sldMk cId="3792203990" sldId="1756"/>
        </pc:sldMkLst>
      </pc:sldChg>
      <pc:sldChg chg="del">
        <pc:chgData name="LAGAIZE DAVOINE Clarisse" userId="dd278aad-65e0-4c3f-81be-c018d57c11a6" providerId="ADAL" clId="{85E06D13-4BE8-40D8-8C76-EA585A969BA3}" dt="2022-12-12T13:15:05.858" v="0" actId="47"/>
        <pc:sldMkLst>
          <pc:docMk/>
          <pc:sldMk cId="3127457597" sldId="1757"/>
        </pc:sldMkLst>
      </pc:sldChg>
      <pc:sldChg chg="del">
        <pc:chgData name="LAGAIZE DAVOINE Clarisse" userId="dd278aad-65e0-4c3f-81be-c018d57c11a6" providerId="ADAL" clId="{85E06D13-4BE8-40D8-8C76-EA585A969BA3}" dt="2022-12-12T13:15:05.858" v="0" actId="47"/>
        <pc:sldMkLst>
          <pc:docMk/>
          <pc:sldMk cId="1860411631" sldId="1758"/>
        </pc:sldMkLst>
      </pc:sldChg>
      <pc:sldChg chg="del">
        <pc:chgData name="LAGAIZE DAVOINE Clarisse" userId="dd278aad-65e0-4c3f-81be-c018d57c11a6" providerId="ADAL" clId="{85E06D13-4BE8-40D8-8C76-EA585A969BA3}" dt="2022-12-12T13:15:05.858" v="0" actId="47"/>
        <pc:sldMkLst>
          <pc:docMk/>
          <pc:sldMk cId="1239193726" sldId="1759"/>
        </pc:sldMkLst>
      </pc:sldChg>
      <pc:sldChg chg="del">
        <pc:chgData name="LAGAIZE DAVOINE Clarisse" userId="dd278aad-65e0-4c3f-81be-c018d57c11a6" providerId="ADAL" clId="{85E06D13-4BE8-40D8-8C76-EA585A969BA3}" dt="2022-12-12T13:15:05.858" v="0" actId="47"/>
        <pc:sldMkLst>
          <pc:docMk/>
          <pc:sldMk cId="4250606915" sldId="1760"/>
        </pc:sldMkLst>
      </pc:sldChg>
      <pc:sldChg chg="del">
        <pc:chgData name="LAGAIZE DAVOINE Clarisse" userId="dd278aad-65e0-4c3f-81be-c018d57c11a6" providerId="ADAL" clId="{85E06D13-4BE8-40D8-8C76-EA585A969BA3}" dt="2022-12-12T13:15:05.858" v="0" actId="47"/>
        <pc:sldMkLst>
          <pc:docMk/>
          <pc:sldMk cId="1075989271" sldId="1761"/>
        </pc:sldMkLst>
      </pc:sldChg>
      <pc:sldChg chg="del">
        <pc:chgData name="LAGAIZE DAVOINE Clarisse" userId="dd278aad-65e0-4c3f-81be-c018d57c11a6" providerId="ADAL" clId="{85E06D13-4BE8-40D8-8C76-EA585A969BA3}" dt="2022-12-12T13:15:05.858" v="0" actId="47"/>
        <pc:sldMkLst>
          <pc:docMk/>
          <pc:sldMk cId="3803215069" sldId="1762"/>
        </pc:sldMkLst>
      </pc:sldChg>
      <pc:sldChg chg="del">
        <pc:chgData name="LAGAIZE DAVOINE Clarisse" userId="dd278aad-65e0-4c3f-81be-c018d57c11a6" providerId="ADAL" clId="{85E06D13-4BE8-40D8-8C76-EA585A969BA3}" dt="2022-12-12T13:15:05.858" v="0" actId="47"/>
        <pc:sldMkLst>
          <pc:docMk/>
          <pc:sldMk cId="514894388" sldId="1763"/>
        </pc:sldMkLst>
      </pc:sldChg>
      <pc:sldChg chg="del">
        <pc:chgData name="LAGAIZE DAVOINE Clarisse" userId="dd278aad-65e0-4c3f-81be-c018d57c11a6" providerId="ADAL" clId="{85E06D13-4BE8-40D8-8C76-EA585A969BA3}" dt="2022-12-12T13:15:05.858" v="0" actId="47"/>
        <pc:sldMkLst>
          <pc:docMk/>
          <pc:sldMk cId="1308156321" sldId="1764"/>
        </pc:sldMkLst>
      </pc:sldChg>
      <pc:sldChg chg="del">
        <pc:chgData name="LAGAIZE DAVOINE Clarisse" userId="dd278aad-65e0-4c3f-81be-c018d57c11a6" providerId="ADAL" clId="{85E06D13-4BE8-40D8-8C76-EA585A969BA3}" dt="2022-12-12T13:15:05.858" v="0" actId="47"/>
        <pc:sldMkLst>
          <pc:docMk/>
          <pc:sldMk cId="3681235423" sldId="1765"/>
        </pc:sldMkLst>
      </pc:sldChg>
      <pc:sldChg chg="del">
        <pc:chgData name="LAGAIZE DAVOINE Clarisse" userId="dd278aad-65e0-4c3f-81be-c018d57c11a6" providerId="ADAL" clId="{85E06D13-4BE8-40D8-8C76-EA585A969BA3}" dt="2022-12-12T13:15:05.858" v="0" actId="47"/>
        <pc:sldMkLst>
          <pc:docMk/>
          <pc:sldMk cId="887103114" sldId="1766"/>
        </pc:sldMkLst>
      </pc:sldChg>
      <pc:sldChg chg="del">
        <pc:chgData name="LAGAIZE DAVOINE Clarisse" userId="dd278aad-65e0-4c3f-81be-c018d57c11a6" providerId="ADAL" clId="{85E06D13-4BE8-40D8-8C76-EA585A969BA3}" dt="2022-12-12T13:15:05.858" v="0" actId="47"/>
        <pc:sldMkLst>
          <pc:docMk/>
          <pc:sldMk cId="1845719027" sldId="1767"/>
        </pc:sldMkLst>
      </pc:sldChg>
      <pc:sldChg chg="del">
        <pc:chgData name="LAGAIZE DAVOINE Clarisse" userId="dd278aad-65e0-4c3f-81be-c018d57c11a6" providerId="ADAL" clId="{85E06D13-4BE8-40D8-8C76-EA585A969BA3}" dt="2022-12-12T13:15:05.858" v="0" actId="47"/>
        <pc:sldMkLst>
          <pc:docMk/>
          <pc:sldMk cId="3376009873" sldId="1768"/>
        </pc:sldMkLst>
      </pc:sldChg>
      <pc:sldChg chg="del">
        <pc:chgData name="LAGAIZE DAVOINE Clarisse" userId="dd278aad-65e0-4c3f-81be-c018d57c11a6" providerId="ADAL" clId="{85E06D13-4BE8-40D8-8C76-EA585A969BA3}" dt="2022-12-12T13:15:05.858" v="0" actId="47"/>
        <pc:sldMkLst>
          <pc:docMk/>
          <pc:sldMk cId="3016391474" sldId="1769"/>
        </pc:sldMkLst>
      </pc:sldChg>
      <pc:sldChg chg="del">
        <pc:chgData name="LAGAIZE DAVOINE Clarisse" userId="dd278aad-65e0-4c3f-81be-c018d57c11a6" providerId="ADAL" clId="{85E06D13-4BE8-40D8-8C76-EA585A969BA3}" dt="2022-12-12T13:15:05.858" v="0" actId="47"/>
        <pc:sldMkLst>
          <pc:docMk/>
          <pc:sldMk cId="2089538938" sldId="1770"/>
        </pc:sldMkLst>
      </pc:sldChg>
      <pc:sldChg chg="del">
        <pc:chgData name="LAGAIZE DAVOINE Clarisse" userId="dd278aad-65e0-4c3f-81be-c018d57c11a6" providerId="ADAL" clId="{85E06D13-4BE8-40D8-8C76-EA585A969BA3}" dt="2022-12-12T13:15:05.858" v="0" actId="47"/>
        <pc:sldMkLst>
          <pc:docMk/>
          <pc:sldMk cId="763677260" sldId="1771"/>
        </pc:sldMkLst>
      </pc:sldChg>
      <pc:sldChg chg="del">
        <pc:chgData name="LAGAIZE DAVOINE Clarisse" userId="dd278aad-65e0-4c3f-81be-c018d57c11a6" providerId="ADAL" clId="{85E06D13-4BE8-40D8-8C76-EA585A969BA3}" dt="2022-12-12T13:15:05.858" v="0" actId="47"/>
        <pc:sldMkLst>
          <pc:docMk/>
          <pc:sldMk cId="4033237054" sldId="1772"/>
        </pc:sldMkLst>
      </pc:sldChg>
      <pc:sldChg chg="del">
        <pc:chgData name="LAGAIZE DAVOINE Clarisse" userId="dd278aad-65e0-4c3f-81be-c018d57c11a6" providerId="ADAL" clId="{85E06D13-4BE8-40D8-8C76-EA585A969BA3}" dt="2022-12-12T13:15:05.858" v="0" actId="47"/>
        <pc:sldMkLst>
          <pc:docMk/>
          <pc:sldMk cId="3916547223" sldId="1773"/>
        </pc:sldMkLst>
      </pc:sldChg>
      <pc:sldChg chg="del">
        <pc:chgData name="LAGAIZE DAVOINE Clarisse" userId="dd278aad-65e0-4c3f-81be-c018d57c11a6" providerId="ADAL" clId="{85E06D13-4BE8-40D8-8C76-EA585A969BA3}" dt="2022-12-12T13:15:05.858" v="0" actId="47"/>
        <pc:sldMkLst>
          <pc:docMk/>
          <pc:sldMk cId="2115474164" sldId="1774"/>
        </pc:sldMkLst>
      </pc:sldChg>
      <pc:sldChg chg="del">
        <pc:chgData name="LAGAIZE DAVOINE Clarisse" userId="dd278aad-65e0-4c3f-81be-c018d57c11a6" providerId="ADAL" clId="{85E06D13-4BE8-40D8-8C76-EA585A969BA3}" dt="2022-12-12T13:15:05.858" v="0" actId="47"/>
        <pc:sldMkLst>
          <pc:docMk/>
          <pc:sldMk cId="1109919285" sldId="1775"/>
        </pc:sldMkLst>
      </pc:sldChg>
      <pc:sldChg chg="del">
        <pc:chgData name="LAGAIZE DAVOINE Clarisse" userId="dd278aad-65e0-4c3f-81be-c018d57c11a6" providerId="ADAL" clId="{85E06D13-4BE8-40D8-8C76-EA585A969BA3}" dt="2022-12-12T13:15:05.858" v="0" actId="47"/>
        <pc:sldMkLst>
          <pc:docMk/>
          <pc:sldMk cId="1340153303" sldId="1776"/>
        </pc:sldMkLst>
      </pc:sldChg>
      <pc:sldChg chg="del">
        <pc:chgData name="LAGAIZE DAVOINE Clarisse" userId="dd278aad-65e0-4c3f-81be-c018d57c11a6" providerId="ADAL" clId="{85E06D13-4BE8-40D8-8C76-EA585A969BA3}" dt="2022-12-12T13:15:05.858" v="0" actId="47"/>
        <pc:sldMkLst>
          <pc:docMk/>
          <pc:sldMk cId="3398034742" sldId="1777"/>
        </pc:sldMkLst>
      </pc:sldChg>
      <pc:sldChg chg="del">
        <pc:chgData name="LAGAIZE DAVOINE Clarisse" userId="dd278aad-65e0-4c3f-81be-c018d57c11a6" providerId="ADAL" clId="{85E06D13-4BE8-40D8-8C76-EA585A969BA3}" dt="2022-12-12T13:15:05.858" v="0" actId="47"/>
        <pc:sldMkLst>
          <pc:docMk/>
          <pc:sldMk cId="1974505884" sldId="1778"/>
        </pc:sldMkLst>
      </pc:sldChg>
      <pc:sldChg chg="del">
        <pc:chgData name="LAGAIZE DAVOINE Clarisse" userId="dd278aad-65e0-4c3f-81be-c018d57c11a6" providerId="ADAL" clId="{85E06D13-4BE8-40D8-8C76-EA585A969BA3}" dt="2022-12-12T13:15:05.858" v="0" actId="47"/>
        <pc:sldMkLst>
          <pc:docMk/>
          <pc:sldMk cId="370226498" sldId="1779"/>
        </pc:sldMkLst>
      </pc:sldChg>
      <pc:sldChg chg="del">
        <pc:chgData name="LAGAIZE DAVOINE Clarisse" userId="dd278aad-65e0-4c3f-81be-c018d57c11a6" providerId="ADAL" clId="{85E06D13-4BE8-40D8-8C76-EA585A969BA3}" dt="2022-12-12T13:15:05.858" v="0" actId="47"/>
        <pc:sldMkLst>
          <pc:docMk/>
          <pc:sldMk cId="1583690123" sldId="1780"/>
        </pc:sldMkLst>
      </pc:sldChg>
      <pc:sldChg chg="del">
        <pc:chgData name="LAGAIZE DAVOINE Clarisse" userId="dd278aad-65e0-4c3f-81be-c018d57c11a6" providerId="ADAL" clId="{85E06D13-4BE8-40D8-8C76-EA585A969BA3}" dt="2022-12-12T13:15:05.858" v="0" actId="47"/>
        <pc:sldMkLst>
          <pc:docMk/>
          <pc:sldMk cId="1212235184" sldId="1781"/>
        </pc:sldMkLst>
      </pc:sldChg>
      <pc:sldChg chg="del">
        <pc:chgData name="LAGAIZE DAVOINE Clarisse" userId="dd278aad-65e0-4c3f-81be-c018d57c11a6" providerId="ADAL" clId="{85E06D13-4BE8-40D8-8C76-EA585A969BA3}" dt="2022-12-12T13:15:05.858" v="0" actId="47"/>
        <pc:sldMkLst>
          <pc:docMk/>
          <pc:sldMk cId="1226263970" sldId="1782"/>
        </pc:sldMkLst>
      </pc:sldChg>
      <pc:sldChg chg="del">
        <pc:chgData name="LAGAIZE DAVOINE Clarisse" userId="dd278aad-65e0-4c3f-81be-c018d57c11a6" providerId="ADAL" clId="{85E06D13-4BE8-40D8-8C76-EA585A969BA3}" dt="2022-12-12T13:15:05.858" v="0" actId="47"/>
        <pc:sldMkLst>
          <pc:docMk/>
          <pc:sldMk cId="673335051" sldId="1783"/>
        </pc:sldMkLst>
      </pc:sldChg>
      <pc:sldChg chg="del">
        <pc:chgData name="LAGAIZE DAVOINE Clarisse" userId="dd278aad-65e0-4c3f-81be-c018d57c11a6" providerId="ADAL" clId="{85E06D13-4BE8-40D8-8C76-EA585A969BA3}" dt="2022-12-12T13:15:05.858" v="0" actId="47"/>
        <pc:sldMkLst>
          <pc:docMk/>
          <pc:sldMk cId="2920129147" sldId="1784"/>
        </pc:sldMkLst>
      </pc:sldChg>
      <pc:sldChg chg="del">
        <pc:chgData name="LAGAIZE DAVOINE Clarisse" userId="dd278aad-65e0-4c3f-81be-c018d57c11a6" providerId="ADAL" clId="{85E06D13-4BE8-40D8-8C76-EA585A969BA3}" dt="2022-12-12T13:15:05.858" v="0" actId="47"/>
        <pc:sldMkLst>
          <pc:docMk/>
          <pc:sldMk cId="3804607219" sldId="1785"/>
        </pc:sldMkLst>
      </pc:sldChg>
      <pc:sldChg chg="del">
        <pc:chgData name="LAGAIZE DAVOINE Clarisse" userId="dd278aad-65e0-4c3f-81be-c018d57c11a6" providerId="ADAL" clId="{85E06D13-4BE8-40D8-8C76-EA585A969BA3}" dt="2022-12-12T13:19:57.253" v="6" actId="47"/>
        <pc:sldMkLst>
          <pc:docMk/>
          <pc:sldMk cId="1077844842" sldId="1786"/>
        </pc:sldMkLst>
      </pc:sldChg>
      <pc:sldChg chg="del">
        <pc:chgData name="LAGAIZE DAVOINE Clarisse" userId="dd278aad-65e0-4c3f-81be-c018d57c11a6" providerId="ADAL" clId="{85E06D13-4BE8-40D8-8C76-EA585A969BA3}" dt="2022-12-12T13:19:57.253" v="6" actId="47"/>
        <pc:sldMkLst>
          <pc:docMk/>
          <pc:sldMk cId="2294454970" sldId="1787"/>
        </pc:sldMkLst>
      </pc:sldChg>
      <pc:sldChg chg="del">
        <pc:chgData name="LAGAIZE DAVOINE Clarisse" userId="dd278aad-65e0-4c3f-81be-c018d57c11a6" providerId="ADAL" clId="{85E06D13-4BE8-40D8-8C76-EA585A969BA3}" dt="2022-12-12T13:19:57.253" v="6" actId="47"/>
        <pc:sldMkLst>
          <pc:docMk/>
          <pc:sldMk cId="159616556" sldId="1788"/>
        </pc:sldMkLst>
      </pc:sldChg>
      <pc:sldChg chg="del">
        <pc:chgData name="LAGAIZE DAVOINE Clarisse" userId="dd278aad-65e0-4c3f-81be-c018d57c11a6" providerId="ADAL" clId="{85E06D13-4BE8-40D8-8C76-EA585A969BA3}" dt="2022-12-12T13:15:05.858" v="0" actId="47"/>
        <pc:sldMkLst>
          <pc:docMk/>
          <pc:sldMk cId="3547586298" sldId="2076137912"/>
        </pc:sldMkLst>
      </pc:sldChg>
      <pc:sldChg chg="del">
        <pc:chgData name="LAGAIZE DAVOINE Clarisse" userId="dd278aad-65e0-4c3f-81be-c018d57c11a6" providerId="ADAL" clId="{85E06D13-4BE8-40D8-8C76-EA585A969BA3}" dt="2022-12-12T13:15:05.858" v="0" actId="47"/>
        <pc:sldMkLst>
          <pc:docMk/>
          <pc:sldMk cId="2788421144" sldId="2076137922"/>
        </pc:sldMkLst>
      </pc:sldChg>
      <pc:sldChg chg="del">
        <pc:chgData name="LAGAIZE DAVOINE Clarisse" userId="dd278aad-65e0-4c3f-81be-c018d57c11a6" providerId="ADAL" clId="{85E06D13-4BE8-40D8-8C76-EA585A969BA3}" dt="2022-12-12T13:15:05.858" v="0" actId="47"/>
        <pc:sldMkLst>
          <pc:docMk/>
          <pc:sldMk cId="3524715303" sldId="2076137923"/>
        </pc:sldMkLst>
      </pc:sldChg>
      <pc:sldChg chg="del">
        <pc:chgData name="LAGAIZE DAVOINE Clarisse" userId="dd278aad-65e0-4c3f-81be-c018d57c11a6" providerId="ADAL" clId="{85E06D13-4BE8-40D8-8C76-EA585A969BA3}" dt="2022-12-12T13:15:05.858" v="0" actId="47"/>
        <pc:sldMkLst>
          <pc:docMk/>
          <pc:sldMk cId="4225596026" sldId="2076137924"/>
        </pc:sldMkLst>
      </pc:sldChg>
      <pc:sldChg chg="del">
        <pc:chgData name="LAGAIZE DAVOINE Clarisse" userId="dd278aad-65e0-4c3f-81be-c018d57c11a6" providerId="ADAL" clId="{85E06D13-4BE8-40D8-8C76-EA585A969BA3}" dt="2022-12-12T13:15:05.858" v="0" actId="47"/>
        <pc:sldMkLst>
          <pc:docMk/>
          <pc:sldMk cId="574113778" sldId="2076137925"/>
        </pc:sldMkLst>
      </pc:sldChg>
      <pc:sldChg chg="del">
        <pc:chgData name="LAGAIZE DAVOINE Clarisse" userId="dd278aad-65e0-4c3f-81be-c018d57c11a6" providerId="ADAL" clId="{85E06D13-4BE8-40D8-8C76-EA585A969BA3}" dt="2022-12-12T13:15:05.858" v="0" actId="47"/>
        <pc:sldMkLst>
          <pc:docMk/>
          <pc:sldMk cId="1784543840" sldId="2076137926"/>
        </pc:sldMkLst>
      </pc:sldChg>
      <pc:sldChg chg="del">
        <pc:chgData name="LAGAIZE DAVOINE Clarisse" userId="dd278aad-65e0-4c3f-81be-c018d57c11a6" providerId="ADAL" clId="{85E06D13-4BE8-40D8-8C76-EA585A969BA3}" dt="2022-12-12T13:15:05.858" v="0" actId="47"/>
        <pc:sldMkLst>
          <pc:docMk/>
          <pc:sldMk cId="2986229480" sldId="2076137927"/>
        </pc:sldMkLst>
      </pc:sldChg>
      <pc:sldChg chg="del">
        <pc:chgData name="LAGAIZE DAVOINE Clarisse" userId="dd278aad-65e0-4c3f-81be-c018d57c11a6" providerId="ADAL" clId="{85E06D13-4BE8-40D8-8C76-EA585A969BA3}" dt="2022-12-12T13:15:05.858" v="0" actId="47"/>
        <pc:sldMkLst>
          <pc:docMk/>
          <pc:sldMk cId="1928953064" sldId="2076137928"/>
        </pc:sldMkLst>
      </pc:sldChg>
      <pc:sldChg chg="del">
        <pc:chgData name="LAGAIZE DAVOINE Clarisse" userId="dd278aad-65e0-4c3f-81be-c018d57c11a6" providerId="ADAL" clId="{85E06D13-4BE8-40D8-8C76-EA585A969BA3}" dt="2022-12-12T13:15:05.858" v="0" actId="47"/>
        <pc:sldMkLst>
          <pc:docMk/>
          <pc:sldMk cId="3574733795" sldId="2076137929"/>
        </pc:sldMkLst>
      </pc:sldChg>
      <pc:sldChg chg="del">
        <pc:chgData name="LAGAIZE DAVOINE Clarisse" userId="dd278aad-65e0-4c3f-81be-c018d57c11a6" providerId="ADAL" clId="{85E06D13-4BE8-40D8-8C76-EA585A969BA3}" dt="2022-12-12T13:15:05.858" v="0" actId="47"/>
        <pc:sldMkLst>
          <pc:docMk/>
          <pc:sldMk cId="1295602015" sldId="2076137930"/>
        </pc:sldMkLst>
      </pc:sldChg>
      <pc:sldChg chg="del">
        <pc:chgData name="LAGAIZE DAVOINE Clarisse" userId="dd278aad-65e0-4c3f-81be-c018d57c11a6" providerId="ADAL" clId="{85E06D13-4BE8-40D8-8C76-EA585A969BA3}" dt="2022-12-12T13:19:57.253" v="6" actId="47"/>
        <pc:sldMkLst>
          <pc:docMk/>
          <pc:sldMk cId="3172250394" sldId="2076137935"/>
        </pc:sldMkLst>
      </pc:sldChg>
      <pc:sldChg chg="del">
        <pc:chgData name="LAGAIZE DAVOINE Clarisse" userId="dd278aad-65e0-4c3f-81be-c018d57c11a6" providerId="ADAL" clId="{85E06D13-4BE8-40D8-8C76-EA585A969BA3}" dt="2022-12-12T13:15:05.858" v="0" actId="47"/>
        <pc:sldMkLst>
          <pc:docMk/>
          <pc:sldMk cId="2447896068" sldId="2076137936"/>
        </pc:sldMkLst>
      </pc:sldChg>
      <pc:sldChg chg="del">
        <pc:chgData name="LAGAIZE DAVOINE Clarisse" userId="dd278aad-65e0-4c3f-81be-c018d57c11a6" providerId="ADAL" clId="{85E06D13-4BE8-40D8-8C76-EA585A969BA3}" dt="2022-12-12T13:15:05.858" v="0" actId="47"/>
        <pc:sldMkLst>
          <pc:docMk/>
          <pc:sldMk cId="2130026957" sldId="2076137937"/>
        </pc:sldMkLst>
      </pc:sldChg>
      <pc:sldChg chg="del">
        <pc:chgData name="LAGAIZE DAVOINE Clarisse" userId="dd278aad-65e0-4c3f-81be-c018d57c11a6" providerId="ADAL" clId="{85E06D13-4BE8-40D8-8C76-EA585A969BA3}" dt="2022-12-12T13:15:05.858" v="0" actId="47"/>
        <pc:sldMkLst>
          <pc:docMk/>
          <pc:sldMk cId="2826371999" sldId="2076137938"/>
        </pc:sldMkLst>
      </pc:sldChg>
      <pc:sldChg chg="del">
        <pc:chgData name="LAGAIZE DAVOINE Clarisse" userId="dd278aad-65e0-4c3f-81be-c018d57c11a6" providerId="ADAL" clId="{85E06D13-4BE8-40D8-8C76-EA585A969BA3}" dt="2022-12-12T13:15:05.858" v="0" actId="47"/>
        <pc:sldMkLst>
          <pc:docMk/>
          <pc:sldMk cId="2638734601" sldId="2076137939"/>
        </pc:sldMkLst>
      </pc:sldChg>
      <pc:sldChg chg="del">
        <pc:chgData name="LAGAIZE DAVOINE Clarisse" userId="dd278aad-65e0-4c3f-81be-c018d57c11a6" providerId="ADAL" clId="{85E06D13-4BE8-40D8-8C76-EA585A969BA3}" dt="2022-12-12T13:15:05.858" v="0" actId="47"/>
        <pc:sldMkLst>
          <pc:docMk/>
          <pc:sldMk cId="683231132" sldId="2076137940"/>
        </pc:sldMkLst>
      </pc:sldChg>
      <pc:sldChg chg="del">
        <pc:chgData name="LAGAIZE DAVOINE Clarisse" userId="dd278aad-65e0-4c3f-81be-c018d57c11a6" providerId="ADAL" clId="{85E06D13-4BE8-40D8-8C76-EA585A969BA3}" dt="2022-12-12T13:15:05.858" v="0" actId="47"/>
        <pc:sldMkLst>
          <pc:docMk/>
          <pc:sldMk cId="774383897" sldId="2076137941"/>
        </pc:sldMkLst>
      </pc:sldChg>
      <pc:sldChg chg="del">
        <pc:chgData name="LAGAIZE DAVOINE Clarisse" userId="dd278aad-65e0-4c3f-81be-c018d57c11a6" providerId="ADAL" clId="{85E06D13-4BE8-40D8-8C76-EA585A969BA3}" dt="2022-12-12T13:15:05.858" v="0" actId="47"/>
        <pc:sldMkLst>
          <pc:docMk/>
          <pc:sldMk cId="1966175729" sldId="2076137942"/>
        </pc:sldMkLst>
      </pc:sldChg>
      <pc:sldChg chg="del">
        <pc:chgData name="LAGAIZE DAVOINE Clarisse" userId="dd278aad-65e0-4c3f-81be-c018d57c11a6" providerId="ADAL" clId="{85E06D13-4BE8-40D8-8C76-EA585A969BA3}" dt="2022-12-12T13:15:05.858" v="0" actId="47"/>
        <pc:sldMkLst>
          <pc:docMk/>
          <pc:sldMk cId="173179988" sldId="2076137943"/>
        </pc:sldMkLst>
      </pc:sldChg>
      <pc:sldChg chg="del">
        <pc:chgData name="LAGAIZE DAVOINE Clarisse" userId="dd278aad-65e0-4c3f-81be-c018d57c11a6" providerId="ADAL" clId="{85E06D13-4BE8-40D8-8C76-EA585A969BA3}" dt="2022-12-12T13:19:57.253" v="6" actId="47"/>
        <pc:sldMkLst>
          <pc:docMk/>
          <pc:sldMk cId="245625772" sldId="2076137947"/>
        </pc:sldMkLst>
      </pc:sldChg>
      <pc:sldChg chg="del">
        <pc:chgData name="LAGAIZE DAVOINE Clarisse" userId="dd278aad-65e0-4c3f-81be-c018d57c11a6" providerId="ADAL" clId="{85E06D13-4BE8-40D8-8C76-EA585A969BA3}" dt="2022-12-12T13:19:57.253" v="6" actId="47"/>
        <pc:sldMkLst>
          <pc:docMk/>
          <pc:sldMk cId="1644161906" sldId="2076137948"/>
        </pc:sldMkLst>
      </pc:sldChg>
      <pc:sldChg chg="del">
        <pc:chgData name="LAGAIZE DAVOINE Clarisse" userId="dd278aad-65e0-4c3f-81be-c018d57c11a6" providerId="ADAL" clId="{85E06D13-4BE8-40D8-8C76-EA585A969BA3}" dt="2022-12-12T13:19:57.253" v="6" actId="47"/>
        <pc:sldMkLst>
          <pc:docMk/>
          <pc:sldMk cId="2992972469" sldId="2076137949"/>
        </pc:sldMkLst>
      </pc:sldChg>
      <pc:sldChg chg="del">
        <pc:chgData name="LAGAIZE DAVOINE Clarisse" userId="dd278aad-65e0-4c3f-81be-c018d57c11a6" providerId="ADAL" clId="{85E06D13-4BE8-40D8-8C76-EA585A969BA3}" dt="2022-12-12T13:15:05.858" v="0" actId="47"/>
        <pc:sldMkLst>
          <pc:docMk/>
          <pc:sldMk cId="0" sldId="2076137950"/>
        </pc:sldMkLst>
      </pc:sldChg>
      <pc:sldChg chg="del">
        <pc:chgData name="LAGAIZE DAVOINE Clarisse" userId="dd278aad-65e0-4c3f-81be-c018d57c11a6" providerId="ADAL" clId="{85E06D13-4BE8-40D8-8C76-EA585A969BA3}" dt="2022-12-12T13:15:05.858" v="0" actId="47"/>
        <pc:sldMkLst>
          <pc:docMk/>
          <pc:sldMk cId="2883374982" sldId="2076137951"/>
        </pc:sldMkLst>
      </pc:sldChg>
      <pc:sldChg chg="del">
        <pc:chgData name="LAGAIZE DAVOINE Clarisse" userId="dd278aad-65e0-4c3f-81be-c018d57c11a6" providerId="ADAL" clId="{85E06D13-4BE8-40D8-8C76-EA585A969BA3}" dt="2022-12-12T13:19:57.253" v="6" actId="47"/>
        <pc:sldMkLst>
          <pc:docMk/>
          <pc:sldMk cId="986035494" sldId="2076137952"/>
        </pc:sldMkLst>
      </pc:sldChg>
      <pc:sldChg chg="del">
        <pc:chgData name="LAGAIZE DAVOINE Clarisse" userId="dd278aad-65e0-4c3f-81be-c018d57c11a6" providerId="ADAL" clId="{85E06D13-4BE8-40D8-8C76-EA585A969BA3}" dt="2022-12-12T13:15:05.858" v="0" actId="47"/>
        <pc:sldMkLst>
          <pc:docMk/>
          <pc:sldMk cId="3651305712" sldId="2076137953"/>
        </pc:sldMkLst>
      </pc:sldChg>
      <pc:sldChg chg="del">
        <pc:chgData name="LAGAIZE DAVOINE Clarisse" userId="dd278aad-65e0-4c3f-81be-c018d57c11a6" providerId="ADAL" clId="{85E06D13-4BE8-40D8-8C76-EA585A969BA3}" dt="2022-12-12T13:15:05.858" v="0" actId="47"/>
        <pc:sldMkLst>
          <pc:docMk/>
          <pc:sldMk cId="2532509660" sldId="2076137954"/>
        </pc:sldMkLst>
      </pc:sldChg>
      <pc:sldMasterChg chg="del delSldLayout">
        <pc:chgData name="LAGAIZE DAVOINE Clarisse" userId="dd278aad-65e0-4c3f-81be-c018d57c11a6" providerId="ADAL" clId="{85E06D13-4BE8-40D8-8C76-EA585A969BA3}" dt="2022-12-12T13:19:57.253" v="6" actId="47"/>
        <pc:sldMasterMkLst>
          <pc:docMk/>
          <pc:sldMasterMk cId="1887786808" sldId="2147483652"/>
        </pc:sldMasterMkLst>
        <pc:sldLayoutChg chg="del">
          <pc:chgData name="LAGAIZE DAVOINE Clarisse" userId="dd278aad-65e0-4c3f-81be-c018d57c11a6" providerId="ADAL" clId="{85E06D13-4BE8-40D8-8C76-EA585A969BA3}" dt="2022-12-12T13:19:57.253" v="6" actId="47"/>
          <pc:sldLayoutMkLst>
            <pc:docMk/>
            <pc:sldMasterMk cId="1887786808" sldId="2147483652"/>
            <pc:sldLayoutMk cId="1031545480" sldId="2147483653"/>
          </pc:sldLayoutMkLst>
        </pc:sldLayoutChg>
        <pc:sldLayoutChg chg="del">
          <pc:chgData name="LAGAIZE DAVOINE Clarisse" userId="dd278aad-65e0-4c3f-81be-c018d57c11a6" providerId="ADAL" clId="{85E06D13-4BE8-40D8-8C76-EA585A969BA3}" dt="2022-12-12T13:19:57.253" v="6" actId="47"/>
          <pc:sldLayoutMkLst>
            <pc:docMk/>
            <pc:sldMasterMk cId="1887786808" sldId="2147483652"/>
            <pc:sldLayoutMk cId="1800449012" sldId="2147483654"/>
          </pc:sldLayoutMkLst>
        </pc:sldLayoutChg>
        <pc:sldLayoutChg chg="del">
          <pc:chgData name="LAGAIZE DAVOINE Clarisse" userId="dd278aad-65e0-4c3f-81be-c018d57c11a6" providerId="ADAL" clId="{85E06D13-4BE8-40D8-8C76-EA585A969BA3}" dt="2022-12-12T13:19:57.253" v="6" actId="47"/>
          <pc:sldLayoutMkLst>
            <pc:docMk/>
            <pc:sldMasterMk cId="1887786808" sldId="2147483652"/>
            <pc:sldLayoutMk cId="2174205351" sldId="2147483655"/>
          </pc:sldLayoutMkLst>
        </pc:sldLayoutChg>
        <pc:sldLayoutChg chg="del">
          <pc:chgData name="LAGAIZE DAVOINE Clarisse" userId="dd278aad-65e0-4c3f-81be-c018d57c11a6" providerId="ADAL" clId="{85E06D13-4BE8-40D8-8C76-EA585A969BA3}" dt="2022-12-12T13:19:57.253" v="6" actId="47"/>
          <pc:sldLayoutMkLst>
            <pc:docMk/>
            <pc:sldMasterMk cId="1887786808" sldId="2147483652"/>
            <pc:sldLayoutMk cId="2924481809" sldId="2147483656"/>
          </pc:sldLayoutMkLst>
        </pc:sldLayoutChg>
      </pc:sldMasterChg>
      <pc:sldMasterChg chg="del delSldLayout">
        <pc:chgData name="LAGAIZE DAVOINE Clarisse" userId="dd278aad-65e0-4c3f-81be-c018d57c11a6" providerId="ADAL" clId="{85E06D13-4BE8-40D8-8C76-EA585A969BA3}" dt="2022-12-12T13:15:05.858" v="0" actId="47"/>
        <pc:sldMasterMkLst>
          <pc:docMk/>
          <pc:sldMasterMk cId="1290379458" sldId="2147483657"/>
        </pc:sldMasterMkLst>
        <pc:sldLayoutChg chg="del">
          <pc:chgData name="LAGAIZE DAVOINE Clarisse" userId="dd278aad-65e0-4c3f-81be-c018d57c11a6" providerId="ADAL" clId="{85E06D13-4BE8-40D8-8C76-EA585A969BA3}" dt="2022-12-12T13:15:05.858" v="0" actId="47"/>
          <pc:sldLayoutMkLst>
            <pc:docMk/>
            <pc:sldMasterMk cId="1290379458" sldId="2147483657"/>
            <pc:sldLayoutMk cId="519837005" sldId="2147483658"/>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4010537249" sldId="2147483659"/>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986564182" sldId="2147483660"/>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869057948" sldId="2147483661"/>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3437782870" sldId="2147483662"/>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2620734501" sldId="2147483663"/>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3907633759" sldId="2147483664"/>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2893082701" sldId="2147483665"/>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3469095735" sldId="2147483666"/>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1544156434" sldId="2147483667"/>
          </pc:sldLayoutMkLst>
        </pc:sldLayoutChg>
        <pc:sldLayoutChg chg="del">
          <pc:chgData name="LAGAIZE DAVOINE Clarisse" userId="dd278aad-65e0-4c3f-81be-c018d57c11a6" providerId="ADAL" clId="{85E06D13-4BE8-40D8-8C76-EA585A969BA3}" dt="2022-12-12T13:15:05.858" v="0" actId="47"/>
          <pc:sldLayoutMkLst>
            <pc:docMk/>
            <pc:sldMasterMk cId="1290379458" sldId="2147483657"/>
            <pc:sldLayoutMk cId="2466298337" sldId="2147483668"/>
          </pc:sldLayoutMkLst>
        </pc:sldLayoutChg>
      </pc:sldMasterChg>
      <pc:sldMasterChg chg="del delSldLayout">
        <pc:chgData name="LAGAIZE DAVOINE Clarisse" userId="dd278aad-65e0-4c3f-81be-c018d57c11a6" providerId="ADAL" clId="{85E06D13-4BE8-40D8-8C76-EA585A969BA3}" dt="2022-12-12T13:15:05.858" v="0" actId="47"/>
        <pc:sldMasterMkLst>
          <pc:docMk/>
          <pc:sldMasterMk cId="89945380" sldId="2147483669"/>
        </pc:sldMasterMkLst>
        <pc:sldLayoutChg chg="del">
          <pc:chgData name="LAGAIZE DAVOINE Clarisse" userId="dd278aad-65e0-4c3f-81be-c018d57c11a6" providerId="ADAL" clId="{85E06D13-4BE8-40D8-8C76-EA585A969BA3}" dt="2022-12-12T13:15:05.858" v="0" actId="47"/>
          <pc:sldLayoutMkLst>
            <pc:docMk/>
            <pc:sldMasterMk cId="89945380" sldId="2147483669"/>
            <pc:sldLayoutMk cId="1066698304" sldId="2147483670"/>
          </pc:sldLayoutMkLst>
        </pc:sldLayoutChg>
        <pc:sldLayoutChg chg="del">
          <pc:chgData name="LAGAIZE DAVOINE Clarisse" userId="dd278aad-65e0-4c3f-81be-c018d57c11a6" providerId="ADAL" clId="{85E06D13-4BE8-40D8-8C76-EA585A969BA3}" dt="2022-12-12T13:15:05.858" v="0" actId="47"/>
          <pc:sldLayoutMkLst>
            <pc:docMk/>
            <pc:sldMasterMk cId="89945380" sldId="2147483669"/>
            <pc:sldLayoutMk cId="2261107587" sldId="2147483671"/>
          </pc:sldLayoutMkLst>
        </pc:sldLayoutChg>
        <pc:sldLayoutChg chg="del">
          <pc:chgData name="LAGAIZE DAVOINE Clarisse" userId="dd278aad-65e0-4c3f-81be-c018d57c11a6" providerId="ADAL" clId="{85E06D13-4BE8-40D8-8C76-EA585A969BA3}" dt="2022-12-12T13:15:05.858" v="0" actId="47"/>
          <pc:sldLayoutMkLst>
            <pc:docMk/>
            <pc:sldMasterMk cId="89945380" sldId="2147483669"/>
            <pc:sldLayoutMk cId="3360463016" sldId="2147483672"/>
          </pc:sldLayoutMkLst>
        </pc:sldLayoutChg>
        <pc:sldLayoutChg chg="del">
          <pc:chgData name="LAGAIZE DAVOINE Clarisse" userId="dd278aad-65e0-4c3f-81be-c018d57c11a6" providerId="ADAL" clId="{85E06D13-4BE8-40D8-8C76-EA585A969BA3}" dt="2022-12-12T13:15:05.858" v="0" actId="47"/>
          <pc:sldLayoutMkLst>
            <pc:docMk/>
            <pc:sldMasterMk cId="89945380" sldId="2147483669"/>
            <pc:sldLayoutMk cId="4089605595" sldId="2147483673"/>
          </pc:sldLayoutMkLst>
        </pc:sldLayoutChg>
        <pc:sldLayoutChg chg="del">
          <pc:chgData name="LAGAIZE DAVOINE Clarisse" userId="dd278aad-65e0-4c3f-81be-c018d57c11a6" providerId="ADAL" clId="{85E06D13-4BE8-40D8-8C76-EA585A969BA3}" dt="2022-12-12T13:15:05.858" v="0" actId="47"/>
          <pc:sldLayoutMkLst>
            <pc:docMk/>
            <pc:sldMasterMk cId="89945380" sldId="2147483669"/>
            <pc:sldLayoutMk cId="2096100964" sldId="2147483674"/>
          </pc:sldLayoutMkLst>
        </pc:sldLayoutChg>
        <pc:sldLayoutChg chg="del">
          <pc:chgData name="LAGAIZE DAVOINE Clarisse" userId="dd278aad-65e0-4c3f-81be-c018d57c11a6" providerId="ADAL" clId="{85E06D13-4BE8-40D8-8C76-EA585A969BA3}" dt="2022-12-12T13:15:05.858" v="0" actId="47"/>
          <pc:sldLayoutMkLst>
            <pc:docMk/>
            <pc:sldMasterMk cId="89945380" sldId="2147483669"/>
            <pc:sldLayoutMk cId="3701052106" sldId="2147483675"/>
          </pc:sldLayoutMkLst>
        </pc:sldLayoutChg>
      </pc:sldMasterChg>
      <pc:sldMasterChg chg="delSldLayout">
        <pc:chgData name="LAGAIZE DAVOINE Clarisse" userId="dd278aad-65e0-4c3f-81be-c018d57c11a6" providerId="ADAL" clId="{85E06D13-4BE8-40D8-8C76-EA585A969BA3}" dt="2022-12-12T13:15:05.858" v="0" actId="47"/>
        <pc:sldMasterMkLst>
          <pc:docMk/>
          <pc:sldMasterMk cId="3217430824" sldId="2147483680"/>
        </pc:sldMasterMkLst>
        <pc:sldLayoutChg chg="del">
          <pc:chgData name="LAGAIZE DAVOINE Clarisse" userId="dd278aad-65e0-4c3f-81be-c018d57c11a6" providerId="ADAL" clId="{85E06D13-4BE8-40D8-8C76-EA585A969BA3}" dt="2022-12-12T13:15:05.858" v="0" actId="47"/>
          <pc:sldLayoutMkLst>
            <pc:docMk/>
            <pc:sldMasterMk cId="3217430824" sldId="2147483680"/>
            <pc:sldLayoutMk cId="3897997490" sldId="2147483791"/>
          </pc:sldLayoutMkLst>
        </pc:sldLayoutChg>
      </pc:sldMasterChg>
      <pc:sldMasterChg chg="del delSldLayout">
        <pc:chgData name="LAGAIZE DAVOINE Clarisse" userId="dd278aad-65e0-4c3f-81be-c018d57c11a6" providerId="ADAL" clId="{85E06D13-4BE8-40D8-8C76-EA585A969BA3}" dt="2022-12-12T13:15:05.858" v="0" actId="47"/>
        <pc:sldMasterMkLst>
          <pc:docMk/>
          <pc:sldMasterMk cId="3415407660" sldId="2147483704"/>
        </pc:sldMasterMkLst>
        <pc:sldLayoutChg chg="del">
          <pc:chgData name="LAGAIZE DAVOINE Clarisse" userId="dd278aad-65e0-4c3f-81be-c018d57c11a6" providerId="ADAL" clId="{85E06D13-4BE8-40D8-8C76-EA585A969BA3}" dt="2022-12-12T13:15:05.858" v="0" actId="47"/>
          <pc:sldLayoutMkLst>
            <pc:docMk/>
            <pc:sldMasterMk cId="3415407660" sldId="2147483704"/>
            <pc:sldLayoutMk cId="7676089" sldId="2147483705"/>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3228410492" sldId="2147483706"/>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2554600851" sldId="2147483707"/>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136384895" sldId="2147483708"/>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2575246190" sldId="2147483709"/>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4199238814" sldId="2147483710"/>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711890594" sldId="2147483711"/>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928363374" sldId="2147483712"/>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3376580066" sldId="2147483713"/>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308568684" sldId="2147483714"/>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1446154014" sldId="2147483715"/>
          </pc:sldLayoutMkLst>
        </pc:sldLayoutChg>
        <pc:sldLayoutChg chg="del">
          <pc:chgData name="LAGAIZE DAVOINE Clarisse" userId="dd278aad-65e0-4c3f-81be-c018d57c11a6" providerId="ADAL" clId="{85E06D13-4BE8-40D8-8C76-EA585A969BA3}" dt="2022-12-12T13:15:05.858" v="0" actId="47"/>
          <pc:sldLayoutMkLst>
            <pc:docMk/>
            <pc:sldMasterMk cId="3415407660" sldId="2147483704"/>
            <pc:sldLayoutMk cId="2303466758" sldId="2147483716"/>
          </pc:sldLayoutMkLst>
        </pc:sldLayoutChg>
      </pc:sldMasterChg>
      <pc:sldMasterChg chg="del delSldLayout">
        <pc:chgData name="LAGAIZE DAVOINE Clarisse" userId="dd278aad-65e0-4c3f-81be-c018d57c11a6" providerId="ADAL" clId="{85E06D13-4BE8-40D8-8C76-EA585A969BA3}" dt="2022-12-12T13:19:57.253" v="6" actId="47"/>
        <pc:sldMasterMkLst>
          <pc:docMk/>
          <pc:sldMasterMk cId="2691815460" sldId="2147483717"/>
        </pc:sldMasterMkLst>
        <pc:sldLayoutChg chg="del">
          <pc:chgData name="LAGAIZE DAVOINE Clarisse" userId="dd278aad-65e0-4c3f-81be-c018d57c11a6" providerId="ADAL" clId="{85E06D13-4BE8-40D8-8C76-EA585A969BA3}" dt="2022-12-12T13:19:57.253" v="6" actId="47"/>
          <pc:sldLayoutMkLst>
            <pc:docMk/>
            <pc:sldMasterMk cId="2691815460" sldId="2147483717"/>
            <pc:sldLayoutMk cId="3709745519" sldId="2147483718"/>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3549858519" sldId="2147483719"/>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3069379427" sldId="2147483720"/>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2692486925" sldId="2147483721"/>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4234993138" sldId="2147483723"/>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1646530725" sldId="2147483724"/>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582595035" sldId="2147483725"/>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2676527198" sldId="2147483792"/>
          </pc:sldLayoutMkLst>
        </pc:sldLayoutChg>
        <pc:sldLayoutChg chg="del">
          <pc:chgData name="LAGAIZE DAVOINE Clarisse" userId="dd278aad-65e0-4c3f-81be-c018d57c11a6" providerId="ADAL" clId="{85E06D13-4BE8-40D8-8C76-EA585A969BA3}" dt="2022-12-12T13:19:57.253" v="6" actId="47"/>
          <pc:sldLayoutMkLst>
            <pc:docMk/>
            <pc:sldMasterMk cId="2691815460" sldId="2147483717"/>
            <pc:sldLayoutMk cId="3947011220" sldId="2147483793"/>
          </pc:sldLayoutMkLst>
        </pc:sldLayoutChg>
      </pc:sldMasterChg>
      <pc:sldMasterChg chg="del delSldLayout">
        <pc:chgData name="LAGAIZE DAVOINE Clarisse" userId="dd278aad-65e0-4c3f-81be-c018d57c11a6" providerId="ADAL" clId="{85E06D13-4BE8-40D8-8C76-EA585A969BA3}" dt="2022-12-12T13:15:05.858" v="0" actId="47"/>
        <pc:sldMasterMkLst>
          <pc:docMk/>
          <pc:sldMasterMk cId="1802952400" sldId="2147483759"/>
        </pc:sldMasterMkLst>
        <pc:sldLayoutChg chg="del">
          <pc:chgData name="LAGAIZE DAVOINE Clarisse" userId="dd278aad-65e0-4c3f-81be-c018d57c11a6" providerId="ADAL" clId="{85E06D13-4BE8-40D8-8C76-EA585A969BA3}" dt="2022-12-12T13:15:05.858" v="0" actId="47"/>
          <pc:sldLayoutMkLst>
            <pc:docMk/>
            <pc:sldMasterMk cId="1802952400" sldId="2147483759"/>
            <pc:sldLayoutMk cId="772093438" sldId="2147483760"/>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1960754901" sldId="2147483761"/>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1922409049" sldId="2147483762"/>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440348569" sldId="2147483763"/>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288383885" sldId="2147483764"/>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724467783" sldId="2147483765"/>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802313242" sldId="2147483766"/>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517642898" sldId="2147483767"/>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1283827803" sldId="2147483768"/>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1565401564" sldId="2147483769"/>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921542064" sldId="2147483770"/>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067463861" sldId="2147483771"/>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474433252" sldId="2147483772"/>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1450186601" sldId="2147483773"/>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534237749" sldId="2147483774"/>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4003239111" sldId="2147483775"/>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62837357" sldId="2147483776"/>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1816374163" sldId="2147483777"/>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968884482" sldId="2147483778"/>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539400256" sldId="2147483779"/>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71991842" sldId="2147483780"/>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177897958" sldId="2147483781"/>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845408087" sldId="2147483782"/>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621130483" sldId="2147483783"/>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4058732582" sldId="2147483784"/>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2356146564" sldId="2147483785"/>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428733508" sldId="2147483786"/>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433265214" sldId="2147483787"/>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477546294" sldId="2147483788"/>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477392737" sldId="2147483789"/>
          </pc:sldLayoutMkLst>
        </pc:sldLayoutChg>
        <pc:sldLayoutChg chg="del">
          <pc:chgData name="LAGAIZE DAVOINE Clarisse" userId="dd278aad-65e0-4c3f-81be-c018d57c11a6" providerId="ADAL" clId="{85E06D13-4BE8-40D8-8C76-EA585A969BA3}" dt="2022-12-12T13:15:05.858" v="0" actId="47"/>
          <pc:sldLayoutMkLst>
            <pc:docMk/>
            <pc:sldMasterMk cId="1802952400" sldId="2147483759"/>
            <pc:sldLayoutMk cId="3837182899" sldId="2147483790"/>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ata11.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3.svg"/><Relationship Id="rId2" Type="http://schemas.openxmlformats.org/officeDocument/2006/relationships/image" Target="../media/image103.svg"/><Relationship Id="rId1" Type="http://schemas.openxmlformats.org/officeDocument/2006/relationships/image" Target="../media/image102.png"/><Relationship Id="rId6" Type="http://schemas.openxmlformats.org/officeDocument/2006/relationships/image" Target="../media/image107.sv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svg"/><Relationship Id="rId4" Type="http://schemas.openxmlformats.org/officeDocument/2006/relationships/image" Target="../media/image105.svg"/><Relationship Id="rId9" Type="http://schemas.openxmlformats.org/officeDocument/2006/relationships/image" Target="../media/image110.png"/></Relationships>
</file>

<file path=ppt/diagrams/_rels/data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ata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ata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11.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12" Type="http://schemas.openxmlformats.org/officeDocument/2006/relationships/image" Target="../media/image113.svg"/><Relationship Id="rId2" Type="http://schemas.openxmlformats.org/officeDocument/2006/relationships/image" Target="../media/image103.svg"/><Relationship Id="rId1" Type="http://schemas.openxmlformats.org/officeDocument/2006/relationships/image" Target="../media/image102.png"/><Relationship Id="rId6" Type="http://schemas.openxmlformats.org/officeDocument/2006/relationships/image" Target="../media/image107.svg"/><Relationship Id="rId11" Type="http://schemas.openxmlformats.org/officeDocument/2006/relationships/image" Target="../media/image112.png"/><Relationship Id="rId5" Type="http://schemas.openxmlformats.org/officeDocument/2006/relationships/image" Target="../media/image106.png"/><Relationship Id="rId10" Type="http://schemas.openxmlformats.org/officeDocument/2006/relationships/image" Target="../media/image111.svg"/><Relationship Id="rId4" Type="http://schemas.openxmlformats.org/officeDocument/2006/relationships/image" Target="../media/image105.svg"/><Relationship Id="rId9" Type="http://schemas.openxmlformats.org/officeDocument/2006/relationships/image" Target="../media/image11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algn="ctr">
            <a:buNone/>
          </a:pPr>
          <a:r>
            <a:rPr lang="de-DE" sz="1500" b="1" kern="1200"/>
            <a:t>Vanessa García Lozano</a:t>
          </a:r>
        </a:p>
        <a:p>
          <a:pPr algn="ctr">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a:xfrm rot="10800000">
          <a:off x="345954" y="2557684"/>
          <a:ext cx="1660917" cy="3126058"/>
        </a:xfrm>
        <a:prstGeom prst="round2SameRect">
          <a:avLst>
            <a:gd name="adj1" fmla="val 10500"/>
            <a:gd name="adj2" fmla="val 0"/>
          </a:avLst>
        </a:prstGeom>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a:xfrm rot="10800000">
          <a:off x="2175106" y="2557684"/>
          <a:ext cx="1660917" cy="3126058"/>
        </a:xfrm>
        <a:prstGeom prst="round2SameRect">
          <a:avLst>
            <a:gd name="adj1" fmla="val 10500"/>
            <a:gd name="adj2" fmla="val 0"/>
          </a:avLst>
        </a:prstGeom>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a:xfrm rot="10800000">
          <a:off x="3999973" y="2557684"/>
          <a:ext cx="1660917" cy="3126058"/>
        </a:xfrm>
        <a:prstGeom prst="round2SameRect">
          <a:avLst>
            <a:gd name="adj1" fmla="val 10500"/>
            <a:gd name="adj2" fmla="val 0"/>
          </a:avLst>
        </a:prstGeom>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a:xfrm rot="10800000">
          <a:off x="5826983" y="2557684"/>
          <a:ext cx="1660917" cy="3126058"/>
        </a:xfrm>
        <a:prstGeom prst="round2SameRect">
          <a:avLst>
            <a:gd name="adj1" fmla="val 10500"/>
            <a:gd name="adj2" fmla="val 0"/>
          </a:avLst>
        </a:prstGeom>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a:xfrm rot="10800000">
          <a:off x="7653993" y="2557684"/>
          <a:ext cx="1660917" cy="3126058"/>
        </a:xfrm>
        <a:prstGeom prst="round2SameRect">
          <a:avLst>
            <a:gd name="adj1" fmla="val 10500"/>
            <a:gd name="adj2" fmla="val 0"/>
          </a:avLst>
        </a:prstGeom>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a:xfrm rot="10800000">
          <a:off x="9481002" y="2557684"/>
          <a:ext cx="1660917" cy="3126058"/>
        </a:xfrm>
        <a:prstGeom prst="round2SameRect">
          <a:avLst>
            <a:gd name="adj1" fmla="val 10500"/>
            <a:gd name="adj2" fmla="val 0"/>
          </a:avLst>
        </a:prstGeom>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9490D54-06B6-4188-B70E-16EF18F6EB93}" type="doc">
      <dgm:prSet loTypeId="urn:microsoft.com/office/officeart/2005/8/layout/arrow4" loCatId="process" qsTypeId="urn:microsoft.com/office/officeart/2005/8/quickstyle/simple1" qsCatId="simple" csTypeId="urn:microsoft.com/office/officeart/2005/8/colors/accent1_2" csCatId="accent1" phldr="1"/>
      <dgm:spPr/>
      <dgm:t>
        <a:bodyPr/>
        <a:lstStyle/>
        <a:p>
          <a:endParaRPr lang="fr-LU"/>
        </a:p>
      </dgm:t>
    </dgm:pt>
    <dgm:pt modelId="{1DF90A85-793C-4D23-857C-43D967C06B43}">
      <dgm:prSet phldrT="[Text]" custT="1"/>
      <dgm:spPr/>
      <dgm:t>
        <a:bodyPr/>
        <a:lstStyle/>
        <a:p>
          <a:pPr algn="l"/>
          <a:r>
            <a:rPr lang="fr-LU" sz="2000" b="1"/>
            <a:t>Fatigue and stress </a:t>
          </a:r>
          <a:r>
            <a:rPr lang="fr-LU" sz="2000" b="1" err="1"/>
            <a:t>decreased</a:t>
          </a:r>
          <a:r>
            <a:rPr lang="fr-LU" sz="2000" b="1"/>
            <a:t> …</a:t>
          </a:r>
        </a:p>
      </dgm:t>
    </dgm:pt>
    <dgm:pt modelId="{5615E9FD-C056-40A7-AB06-21DDD57306A5}" type="parTrans" cxnId="{ED8E722F-A082-4111-BEB6-4FB8C9C7F0F1}">
      <dgm:prSet/>
      <dgm:spPr/>
      <dgm:t>
        <a:bodyPr/>
        <a:lstStyle/>
        <a:p>
          <a:endParaRPr lang="fr-LU"/>
        </a:p>
      </dgm:t>
    </dgm:pt>
    <dgm:pt modelId="{F2837C27-E059-4F16-A8AB-79DE1F15A4DC}" type="sibTrans" cxnId="{ED8E722F-A082-4111-BEB6-4FB8C9C7F0F1}">
      <dgm:prSet/>
      <dgm:spPr/>
      <dgm:t>
        <a:bodyPr/>
        <a:lstStyle/>
        <a:p>
          <a:endParaRPr lang="fr-LU"/>
        </a:p>
      </dgm:t>
    </dgm:pt>
    <dgm:pt modelId="{82B4CE7F-C077-40D4-A5F7-5F8213105667}">
      <dgm:prSet phldrT="[Text]" custT="1"/>
      <dgm:spPr/>
      <dgm:t>
        <a:bodyPr/>
        <a:lstStyle/>
        <a:p>
          <a:pPr algn="l"/>
          <a:r>
            <a:rPr lang="fr-LU" sz="2000"/>
            <a:t>Attention and vigilance</a:t>
          </a:r>
        </a:p>
      </dgm:t>
    </dgm:pt>
    <dgm:pt modelId="{65D30FF6-D2CE-45A4-848C-9D0E0E885E8C}" type="parTrans" cxnId="{48CC9F62-A4A6-4591-9EB1-5BAF1B11BAA9}">
      <dgm:prSet/>
      <dgm:spPr/>
      <dgm:t>
        <a:bodyPr/>
        <a:lstStyle/>
        <a:p>
          <a:endParaRPr lang="fr-LU"/>
        </a:p>
      </dgm:t>
    </dgm:pt>
    <dgm:pt modelId="{2B937258-177D-4320-8138-6E0F5BBB3D07}" type="sibTrans" cxnId="{48CC9F62-A4A6-4591-9EB1-5BAF1B11BAA9}">
      <dgm:prSet/>
      <dgm:spPr/>
      <dgm:t>
        <a:bodyPr/>
        <a:lstStyle/>
        <a:p>
          <a:endParaRPr lang="fr-LU"/>
        </a:p>
      </dgm:t>
    </dgm:pt>
    <dgm:pt modelId="{0D846958-CED5-41D1-8985-195D96CBBE0E}">
      <dgm:prSet phldrT="[Text]" custT="1"/>
      <dgm:spPr/>
      <dgm:t>
        <a:bodyPr/>
        <a:lstStyle/>
        <a:p>
          <a:pPr algn="l"/>
          <a:r>
            <a:rPr lang="fr-LU" sz="2000" err="1"/>
            <a:t>Decision</a:t>
          </a:r>
          <a:r>
            <a:rPr lang="fr-LU" sz="2000"/>
            <a:t> </a:t>
          </a:r>
          <a:r>
            <a:rPr lang="fr-LU" sz="2000" err="1"/>
            <a:t>making</a:t>
          </a:r>
          <a:r>
            <a:rPr lang="fr-LU" sz="2000"/>
            <a:t> </a:t>
          </a:r>
          <a:r>
            <a:rPr lang="fr-LU" sz="2000" err="1"/>
            <a:t>ability</a:t>
          </a:r>
          <a:endParaRPr lang="fr-LU" sz="2000"/>
        </a:p>
      </dgm:t>
    </dgm:pt>
    <dgm:pt modelId="{E01ABED7-CACA-4845-94D9-0523C285FD6F}" type="parTrans" cxnId="{95E63A50-7BB1-4BDF-AA14-4BB7CD3E5217}">
      <dgm:prSet/>
      <dgm:spPr/>
      <dgm:t>
        <a:bodyPr/>
        <a:lstStyle/>
        <a:p>
          <a:endParaRPr lang="fr-LU"/>
        </a:p>
      </dgm:t>
    </dgm:pt>
    <dgm:pt modelId="{86EE148C-8016-4170-BC43-4A5D58CB09A7}" type="sibTrans" cxnId="{95E63A50-7BB1-4BDF-AA14-4BB7CD3E5217}">
      <dgm:prSet/>
      <dgm:spPr/>
      <dgm:t>
        <a:bodyPr/>
        <a:lstStyle/>
        <a:p>
          <a:endParaRPr lang="fr-LU"/>
        </a:p>
      </dgm:t>
    </dgm:pt>
    <dgm:pt modelId="{73A087F0-46C3-48DA-BF0A-CB10DC7B42C7}">
      <dgm:prSet phldrT="[Text]" custT="1"/>
      <dgm:spPr/>
      <dgm:t>
        <a:bodyPr/>
        <a:lstStyle/>
        <a:p>
          <a:pPr algn="l"/>
          <a:r>
            <a:rPr lang="fr-LU" sz="2000" err="1"/>
            <a:t>Productivity</a:t>
          </a:r>
          <a:endParaRPr lang="fr-LU" sz="2000"/>
        </a:p>
      </dgm:t>
    </dgm:pt>
    <dgm:pt modelId="{C8DDF397-DFF6-4B25-A2F0-A0762CB614CC}" type="parTrans" cxnId="{7B08022F-6F77-4B7E-8214-94FD8D41727A}">
      <dgm:prSet/>
      <dgm:spPr/>
      <dgm:t>
        <a:bodyPr/>
        <a:lstStyle/>
        <a:p>
          <a:endParaRPr lang="fr-LU"/>
        </a:p>
      </dgm:t>
    </dgm:pt>
    <dgm:pt modelId="{2D777793-6A4F-4D39-8756-51F300068747}" type="sibTrans" cxnId="{7B08022F-6F77-4B7E-8214-94FD8D41727A}">
      <dgm:prSet/>
      <dgm:spPr/>
      <dgm:t>
        <a:bodyPr/>
        <a:lstStyle/>
        <a:p>
          <a:endParaRPr lang="fr-LU"/>
        </a:p>
      </dgm:t>
    </dgm:pt>
    <dgm:pt modelId="{B27B3F7C-43B3-4585-9D34-31D14070529C}">
      <dgm:prSet phldrT="[Text]" custT="1"/>
      <dgm:spPr/>
      <dgm:t>
        <a:bodyPr/>
        <a:lstStyle/>
        <a:p>
          <a:pPr algn="l"/>
          <a:r>
            <a:rPr lang="fr-LU" sz="2000"/>
            <a:t>Communication </a:t>
          </a:r>
          <a:r>
            <a:rPr lang="fr-LU" sz="2000" err="1"/>
            <a:t>skills</a:t>
          </a:r>
          <a:endParaRPr lang="fr-LU" sz="2000"/>
        </a:p>
      </dgm:t>
    </dgm:pt>
    <dgm:pt modelId="{32798B4D-132F-488F-AD78-AE855C9E2E71}" type="parTrans" cxnId="{3C83D41B-371E-47F7-9CED-CB530AF2E825}">
      <dgm:prSet/>
      <dgm:spPr/>
      <dgm:t>
        <a:bodyPr/>
        <a:lstStyle/>
        <a:p>
          <a:endParaRPr lang="fr-LU"/>
        </a:p>
      </dgm:t>
    </dgm:pt>
    <dgm:pt modelId="{B25018D6-1018-4E75-8F51-D9D5940962B5}" type="sibTrans" cxnId="{3C83D41B-371E-47F7-9CED-CB530AF2E825}">
      <dgm:prSet/>
      <dgm:spPr/>
      <dgm:t>
        <a:bodyPr/>
        <a:lstStyle/>
        <a:p>
          <a:endParaRPr lang="fr-LU"/>
        </a:p>
      </dgm:t>
    </dgm:pt>
    <dgm:pt modelId="{F1E4F2E7-50F1-46A1-8A3E-1F6221B859D4}">
      <dgm:prSet phldrT="[Text]" custT="1"/>
      <dgm:spPr/>
      <dgm:t>
        <a:bodyPr/>
        <a:lstStyle/>
        <a:p>
          <a:pPr algn="l"/>
          <a:r>
            <a:rPr lang="fr-LU" sz="2000" err="1"/>
            <a:t>Memorisation</a:t>
          </a:r>
          <a:r>
            <a:rPr lang="fr-LU" sz="2000"/>
            <a:t> </a:t>
          </a:r>
          <a:r>
            <a:rPr lang="fr-LU" sz="2000" err="1"/>
            <a:t>abilities</a:t>
          </a:r>
          <a:endParaRPr lang="fr-LU" sz="2000"/>
        </a:p>
      </dgm:t>
    </dgm:pt>
    <dgm:pt modelId="{910A44C1-8E58-4AB5-A679-45C58A703B5D}" type="parTrans" cxnId="{DD0D3850-EE68-437F-ABFF-D5A647D7101F}">
      <dgm:prSet/>
      <dgm:spPr/>
      <dgm:t>
        <a:bodyPr/>
        <a:lstStyle/>
        <a:p>
          <a:endParaRPr lang="fr-LU"/>
        </a:p>
      </dgm:t>
    </dgm:pt>
    <dgm:pt modelId="{1B3B872A-81EB-43C9-B974-4D3690FB65CB}" type="sibTrans" cxnId="{DD0D3850-EE68-437F-ABFF-D5A647D7101F}">
      <dgm:prSet/>
      <dgm:spPr/>
      <dgm:t>
        <a:bodyPr/>
        <a:lstStyle/>
        <a:p>
          <a:endParaRPr lang="fr-LU"/>
        </a:p>
      </dgm:t>
    </dgm:pt>
    <dgm:pt modelId="{7379C64F-2833-4D1D-8FC5-1F8B9CF1CA3D}">
      <dgm:prSet phldrT="[Text]" custT="1"/>
      <dgm:spPr/>
      <dgm:t>
        <a:bodyPr/>
        <a:lstStyle/>
        <a:p>
          <a:pPr algn="l"/>
          <a:r>
            <a:rPr lang="fr-LU" sz="2000"/>
            <a:t>Stress management</a:t>
          </a:r>
        </a:p>
      </dgm:t>
    </dgm:pt>
    <dgm:pt modelId="{E1A62C29-1696-440C-A3C7-3F8293438ED9}" type="parTrans" cxnId="{229AD2AD-7B6E-4F3C-84BF-1F3C7DE37EE1}">
      <dgm:prSet/>
      <dgm:spPr/>
      <dgm:t>
        <a:bodyPr/>
        <a:lstStyle/>
        <a:p>
          <a:endParaRPr lang="fr-LU"/>
        </a:p>
      </dgm:t>
    </dgm:pt>
    <dgm:pt modelId="{91D0605A-DB84-4EEF-90AF-F15F5BA8D822}" type="sibTrans" cxnId="{229AD2AD-7B6E-4F3C-84BF-1F3C7DE37EE1}">
      <dgm:prSet/>
      <dgm:spPr/>
      <dgm:t>
        <a:bodyPr/>
        <a:lstStyle/>
        <a:p>
          <a:endParaRPr lang="fr-LU"/>
        </a:p>
      </dgm:t>
    </dgm:pt>
    <dgm:pt modelId="{7DBEB850-0C20-4F23-A568-6DD0355FB2F7}">
      <dgm:prSet phldrT="[Text]" custT="1"/>
      <dgm:spPr/>
      <dgm:t>
        <a:bodyPr/>
        <a:lstStyle/>
        <a:p>
          <a:r>
            <a:rPr lang="fr-LU" sz="2000"/>
            <a:t>Risk </a:t>
          </a:r>
          <a:r>
            <a:rPr lang="fr-LU" sz="2000" err="1"/>
            <a:t>taking</a:t>
          </a:r>
          <a:r>
            <a:rPr lang="fr-LU" sz="2000"/>
            <a:t> </a:t>
          </a:r>
          <a:r>
            <a:rPr lang="fr-LU" sz="2000" err="1"/>
            <a:t>decisions</a:t>
          </a:r>
          <a:r>
            <a:rPr lang="fr-LU" sz="2000"/>
            <a:t> – Violations of </a:t>
          </a:r>
          <a:r>
            <a:rPr lang="fr-LU" sz="2000" err="1"/>
            <a:t>rules</a:t>
          </a:r>
          <a:endParaRPr lang="fr-LU" sz="2000"/>
        </a:p>
      </dgm:t>
    </dgm:pt>
    <dgm:pt modelId="{017C83FB-9A7C-4BC9-A23A-A32897341965}" type="parTrans" cxnId="{23960D36-744F-4A29-8321-C9B31317A597}">
      <dgm:prSet/>
      <dgm:spPr/>
      <dgm:t>
        <a:bodyPr/>
        <a:lstStyle/>
        <a:p>
          <a:endParaRPr lang="fr-LU"/>
        </a:p>
      </dgm:t>
    </dgm:pt>
    <dgm:pt modelId="{9642EDED-71B7-4961-9190-8E4740A9C3CD}" type="sibTrans" cxnId="{23960D36-744F-4A29-8321-C9B31317A597}">
      <dgm:prSet/>
      <dgm:spPr/>
      <dgm:t>
        <a:bodyPr/>
        <a:lstStyle/>
        <a:p>
          <a:endParaRPr lang="fr-LU"/>
        </a:p>
      </dgm:t>
    </dgm:pt>
    <dgm:pt modelId="{88CC9CCE-E363-48B9-AE38-936BB9F4FFD2}">
      <dgm:prSet phldrT="[Text]" custT="1"/>
      <dgm:spPr/>
      <dgm:t>
        <a:bodyPr/>
        <a:lstStyle/>
        <a:p>
          <a:r>
            <a:rPr lang="fr-LU" sz="2000" err="1"/>
            <a:t>Errors</a:t>
          </a:r>
          <a:endParaRPr lang="fr-LU" sz="2000"/>
        </a:p>
      </dgm:t>
    </dgm:pt>
    <dgm:pt modelId="{2EB831E1-EBE0-4B79-AEB3-BAC47615C5E8}" type="parTrans" cxnId="{ADEB6663-38E1-4133-8721-BDB22F69654C}">
      <dgm:prSet/>
      <dgm:spPr/>
      <dgm:t>
        <a:bodyPr/>
        <a:lstStyle/>
        <a:p>
          <a:endParaRPr lang="fr-LU"/>
        </a:p>
      </dgm:t>
    </dgm:pt>
    <dgm:pt modelId="{7451D691-B43B-407D-9316-88797D6A95DF}" type="sibTrans" cxnId="{ADEB6663-38E1-4133-8721-BDB22F69654C}">
      <dgm:prSet/>
      <dgm:spPr/>
      <dgm:t>
        <a:bodyPr/>
        <a:lstStyle/>
        <a:p>
          <a:endParaRPr lang="fr-LU"/>
        </a:p>
      </dgm:t>
    </dgm:pt>
    <dgm:pt modelId="{C32D3DBB-5CED-4E7F-8F14-C7E6AF8AFF7B}">
      <dgm:prSet phldrT="[Text]" custT="1"/>
      <dgm:spPr/>
      <dgm:t>
        <a:bodyPr/>
        <a:lstStyle/>
        <a:p>
          <a:r>
            <a:rPr lang="fr-LU" sz="2000" err="1"/>
            <a:t>Absenteism</a:t>
          </a:r>
          <a:endParaRPr lang="fr-LU" sz="2000"/>
        </a:p>
      </dgm:t>
    </dgm:pt>
    <dgm:pt modelId="{F5F47E9A-43F4-4BB1-8616-56AB97488249}" type="parTrans" cxnId="{B8A1FCEA-EB51-4E30-B26C-5D0181997081}">
      <dgm:prSet/>
      <dgm:spPr/>
      <dgm:t>
        <a:bodyPr/>
        <a:lstStyle/>
        <a:p>
          <a:endParaRPr lang="fr-LU"/>
        </a:p>
      </dgm:t>
    </dgm:pt>
    <dgm:pt modelId="{A759AB46-59A9-4CDC-9C68-022B70FF5A48}" type="sibTrans" cxnId="{B8A1FCEA-EB51-4E30-B26C-5D0181997081}">
      <dgm:prSet/>
      <dgm:spPr/>
      <dgm:t>
        <a:bodyPr/>
        <a:lstStyle/>
        <a:p>
          <a:endParaRPr lang="fr-LU"/>
        </a:p>
      </dgm:t>
    </dgm:pt>
    <dgm:pt modelId="{353279D3-DACF-414D-8791-7F0CA294A9B5}">
      <dgm:prSet phldrT="[Text]" custT="1"/>
      <dgm:spPr/>
      <dgm:t>
        <a:bodyPr/>
        <a:lstStyle/>
        <a:p>
          <a:pPr algn="l"/>
          <a:r>
            <a:rPr lang="fr-LU" sz="2000" err="1"/>
            <a:t>Quality</a:t>
          </a:r>
          <a:r>
            <a:rPr lang="fr-LU" sz="2000"/>
            <a:t> of </a:t>
          </a:r>
          <a:r>
            <a:rPr lang="fr-LU" sz="2000" err="1"/>
            <a:t>work</a:t>
          </a:r>
          <a:endParaRPr lang="fr-LU" sz="2000"/>
        </a:p>
      </dgm:t>
    </dgm:pt>
    <dgm:pt modelId="{1B612DF9-75E2-4A3E-8948-A08CF3EBDD84}" type="parTrans" cxnId="{77CCC2BC-3963-41C0-8239-BE8FD4494DDC}">
      <dgm:prSet/>
      <dgm:spPr/>
      <dgm:t>
        <a:bodyPr/>
        <a:lstStyle/>
        <a:p>
          <a:endParaRPr lang="fr-LU"/>
        </a:p>
      </dgm:t>
    </dgm:pt>
    <dgm:pt modelId="{22D834FE-E288-41DE-B8FA-EEB92EB71AFA}" type="sibTrans" cxnId="{77CCC2BC-3963-41C0-8239-BE8FD4494DDC}">
      <dgm:prSet/>
      <dgm:spPr/>
      <dgm:t>
        <a:bodyPr/>
        <a:lstStyle/>
        <a:p>
          <a:endParaRPr lang="fr-LU"/>
        </a:p>
      </dgm:t>
    </dgm:pt>
    <dgm:pt modelId="{7FD5023B-4B70-492B-BDA4-E7FA8CE0CDA2}">
      <dgm:prSet phldrT="[Text]" custT="1"/>
      <dgm:spPr/>
      <dgm:t>
        <a:bodyPr/>
        <a:lstStyle/>
        <a:p>
          <a:r>
            <a:rPr lang="fr-LU" sz="2000" b="1"/>
            <a:t>Fatigue and stress </a:t>
          </a:r>
          <a:r>
            <a:rPr lang="fr-LU" sz="2000" b="1" err="1"/>
            <a:t>increased</a:t>
          </a:r>
          <a:r>
            <a:rPr lang="fr-LU" sz="2000" b="1"/>
            <a:t> …</a:t>
          </a:r>
        </a:p>
      </dgm:t>
    </dgm:pt>
    <dgm:pt modelId="{2FE48366-0B79-4AA3-9E30-E4CBC1B0D651}" type="sibTrans" cxnId="{7E74B3B7-74D1-49A8-9253-508C96366824}">
      <dgm:prSet/>
      <dgm:spPr/>
      <dgm:t>
        <a:bodyPr/>
        <a:lstStyle/>
        <a:p>
          <a:endParaRPr lang="fr-LU"/>
        </a:p>
      </dgm:t>
    </dgm:pt>
    <dgm:pt modelId="{9D7B4515-2086-4A53-A352-AA2EBB0E2BCA}" type="parTrans" cxnId="{7E74B3B7-74D1-49A8-9253-508C96366824}">
      <dgm:prSet/>
      <dgm:spPr/>
      <dgm:t>
        <a:bodyPr/>
        <a:lstStyle/>
        <a:p>
          <a:endParaRPr lang="fr-LU"/>
        </a:p>
      </dgm:t>
    </dgm:pt>
    <dgm:pt modelId="{345A214D-185B-4D56-BAFE-425FF0E2E706}">
      <dgm:prSet phldrT="[Text]" custT="1"/>
      <dgm:spPr/>
      <dgm:t>
        <a:bodyPr/>
        <a:lstStyle/>
        <a:p>
          <a:r>
            <a:rPr lang="fr-LU" sz="2000" err="1"/>
            <a:t>Unsafe</a:t>
          </a:r>
          <a:r>
            <a:rPr lang="fr-LU" sz="2000"/>
            <a:t> </a:t>
          </a:r>
          <a:r>
            <a:rPr lang="fr-LU" sz="2000" err="1"/>
            <a:t>behaviors</a:t>
          </a:r>
          <a:endParaRPr lang="fr-LU" sz="2000"/>
        </a:p>
      </dgm:t>
    </dgm:pt>
    <dgm:pt modelId="{4217992F-7D8B-4209-920D-044845249736}" type="parTrans" cxnId="{D75D64F0-B8ED-4C0C-87D9-887404BD7B11}">
      <dgm:prSet/>
      <dgm:spPr/>
      <dgm:t>
        <a:bodyPr/>
        <a:lstStyle/>
        <a:p>
          <a:endParaRPr lang="fr-LU"/>
        </a:p>
      </dgm:t>
    </dgm:pt>
    <dgm:pt modelId="{5F557444-1C45-482E-80E8-7F568068B796}" type="sibTrans" cxnId="{D75D64F0-B8ED-4C0C-87D9-887404BD7B11}">
      <dgm:prSet/>
      <dgm:spPr/>
      <dgm:t>
        <a:bodyPr/>
        <a:lstStyle/>
        <a:p>
          <a:endParaRPr lang="fr-LU"/>
        </a:p>
      </dgm:t>
    </dgm:pt>
    <dgm:pt modelId="{1328AE8E-3987-47D2-BD94-D8B414851071}">
      <dgm:prSet phldrT="[Text]" custT="1"/>
      <dgm:spPr/>
      <dgm:t>
        <a:bodyPr/>
        <a:lstStyle/>
        <a:p>
          <a:r>
            <a:rPr lang="fr-LU" sz="2000" err="1"/>
            <a:t>Missings</a:t>
          </a:r>
          <a:endParaRPr lang="fr-LU" sz="2000"/>
        </a:p>
      </dgm:t>
    </dgm:pt>
    <dgm:pt modelId="{72571C58-E2C3-4F19-946C-CE304C33D8F2}" type="parTrans" cxnId="{B4DE8EA7-A37A-4B64-A467-99E1FB96A505}">
      <dgm:prSet/>
      <dgm:spPr/>
      <dgm:t>
        <a:bodyPr/>
        <a:lstStyle/>
        <a:p>
          <a:endParaRPr lang="fr-LU"/>
        </a:p>
      </dgm:t>
    </dgm:pt>
    <dgm:pt modelId="{C15A459F-1D11-482E-835D-85F15952EF84}" type="sibTrans" cxnId="{B4DE8EA7-A37A-4B64-A467-99E1FB96A505}">
      <dgm:prSet/>
      <dgm:spPr/>
      <dgm:t>
        <a:bodyPr/>
        <a:lstStyle/>
        <a:p>
          <a:endParaRPr lang="fr-LU"/>
        </a:p>
      </dgm:t>
    </dgm:pt>
    <dgm:pt modelId="{DA8AB82A-59C3-4DA6-A3B8-0B010E16EEB8}" type="pres">
      <dgm:prSet presAssocID="{F9490D54-06B6-4188-B70E-16EF18F6EB93}" presName="compositeShape" presStyleCnt="0">
        <dgm:presLayoutVars>
          <dgm:chMax val="2"/>
          <dgm:dir/>
          <dgm:resizeHandles val="exact"/>
        </dgm:presLayoutVars>
      </dgm:prSet>
      <dgm:spPr/>
    </dgm:pt>
    <dgm:pt modelId="{3B797F4D-038C-432E-8D76-B34777215631}" type="pres">
      <dgm:prSet presAssocID="{1DF90A85-793C-4D23-857C-43D967C06B43}" presName="upArrow" presStyleLbl="node1" presStyleIdx="0" presStyleCnt="2" custLinFactNeighborX="1039" custLinFactNeighborY="75266"/>
      <dgm:spPr>
        <a:gradFill flip="none" rotWithShape="0">
          <a:gsLst>
            <a:gs pos="0">
              <a:srgbClr val="C00000">
                <a:shade val="30000"/>
                <a:satMod val="115000"/>
              </a:srgbClr>
            </a:gs>
            <a:gs pos="50000">
              <a:srgbClr val="C00000">
                <a:shade val="67500"/>
                <a:satMod val="115000"/>
              </a:srgbClr>
            </a:gs>
            <a:gs pos="100000">
              <a:srgbClr val="C00000">
                <a:shade val="100000"/>
                <a:satMod val="115000"/>
              </a:srgbClr>
            </a:gs>
          </a:gsLst>
          <a:lin ang="10800000" scaled="1"/>
          <a:tileRect/>
        </a:gradFill>
      </dgm:spPr>
    </dgm:pt>
    <dgm:pt modelId="{632B45EA-9807-4487-8C75-5E8BE0942CFD}" type="pres">
      <dgm:prSet presAssocID="{1DF90A85-793C-4D23-857C-43D967C06B43}" presName="upArrowText" presStyleLbl="revTx" presStyleIdx="0" presStyleCnt="2" custScaleX="104881" custScaleY="149217" custLinFactNeighborX="16942" custLinFactNeighborY="-7488">
        <dgm:presLayoutVars>
          <dgm:chMax val="0"/>
          <dgm:bulletEnabled val="1"/>
        </dgm:presLayoutVars>
      </dgm:prSet>
      <dgm:spPr/>
    </dgm:pt>
    <dgm:pt modelId="{455D9DA6-5862-4262-87AE-6F8432FD35B1}" type="pres">
      <dgm:prSet presAssocID="{7FD5023B-4B70-492B-BDA4-E7FA8CE0CDA2}" presName="downArrow" presStyleLbl="node1" presStyleIdx="1" presStyleCnt="2" custLinFactY="-5655" custLinFactNeighborX="2078" custLinFactNeighborY="-100000"/>
      <dgm:spPr>
        <a:gradFill flip="none" rotWithShape="0">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dgm:spPr>
    </dgm:pt>
    <dgm:pt modelId="{2CF466FB-DC3F-4008-BBB0-A2BA6E5878AF}" type="pres">
      <dgm:prSet presAssocID="{7FD5023B-4B70-492B-BDA4-E7FA8CE0CDA2}" presName="downArrowText" presStyleLbl="revTx" presStyleIdx="1" presStyleCnt="2" custScaleX="104881" custScaleY="120140" custLinFactNeighborX="-1122" custLinFactNeighborY="15383">
        <dgm:presLayoutVars>
          <dgm:chMax val="0"/>
          <dgm:bulletEnabled val="1"/>
        </dgm:presLayoutVars>
      </dgm:prSet>
      <dgm:spPr/>
    </dgm:pt>
  </dgm:ptLst>
  <dgm:cxnLst>
    <dgm:cxn modelId="{D0124B01-2702-4A93-8318-12EA051A058F}" type="presOf" srcId="{B27B3F7C-43B3-4585-9D34-31D14070529C}" destId="{632B45EA-9807-4487-8C75-5E8BE0942CFD}" srcOrd="0" destOrd="5" presId="urn:microsoft.com/office/officeart/2005/8/layout/arrow4"/>
    <dgm:cxn modelId="{FA436506-C3C7-4F46-8CCB-5871AF56EF6A}" type="presOf" srcId="{88CC9CCE-E363-48B9-AE38-936BB9F4FFD2}" destId="{2CF466FB-DC3F-4008-BBB0-A2BA6E5878AF}" srcOrd="0" destOrd="2" presId="urn:microsoft.com/office/officeart/2005/8/layout/arrow4"/>
    <dgm:cxn modelId="{86BE5708-E01E-490C-9AC1-C51E3DF0E054}" type="presOf" srcId="{1328AE8E-3987-47D2-BD94-D8B414851071}" destId="{2CF466FB-DC3F-4008-BBB0-A2BA6E5878AF}" srcOrd="0" destOrd="4" presId="urn:microsoft.com/office/officeart/2005/8/layout/arrow4"/>
    <dgm:cxn modelId="{3C83D41B-371E-47F7-9CED-CB530AF2E825}" srcId="{1DF90A85-793C-4D23-857C-43D967C06B43}" destId="{B27B3F7C-43B3-4585-9D34-31D14070529C}" srcOrd="4" destOrd="0" parTransId="{32798B4D-132F-488F-AD78-AE855C9E2E71}" sibTransId="{B25018D6-1018-4E75-8F51-D9D5940962B5}"/>
    <dgm:cxn modelId="{63A1DF2B-64A2-4830-9ABD-1C400FE2C5AB}" type="presOf" srcId="{1DF90A85-793C-4D23-857C-43D967C06B43}" destId="{632B45EA-9807-4487-8C75-5E8BE0942CFD}" srcOrd="0" destOrd="0" presId="urn:microsoft.com/office/officeart/2005/8/layout/arrow4"/>
    <dgm:cxn modelId="{7B08022F-6F77-4B7E-8214-94FD8D41727A}" srcId="{1DF90A85-793C-4D23-857C-43D967C06B43}" destId="{73A087F0-46C3-48DA-BF0A-CB10DC7B42C7}" srcOrd="2" destOrd="0" parTransId="{C8DDF397-DFF6-4B25-A2F0-A0762CB614CC}" sibTransId="{2D777793-6A4F-4D39-8756-51F300068747}"/>
    <dgm:cxn modelId="{ED8E722F-A082-4111-BEB6-4FB8C9C7F0F1}" srcId="{F9490D54-06B6-4188-B70E-16EF18F6EB93}" destId="{1DF90A85-793C-4D23-857C-43D967C06B43}" srcOrd="0" destOrd="0" parTransId="{5615E9FD-C056-40A7-AB06-21DDD57306A5}" sibTransId="{F2837C27-E059-4F16-A8AB-79DE1F15A4DC}"/>
    <dgm:cxn modelId="{23960D36-744F-4A29-8321-C9B31317A597}" srcId="{7FD5023B-4B70-492B-BDA4-E7FA8CE0CDA2}" destId="{7DBEB850-0C20-4F23-A568-6DD0355FB2F7}" srcOrd="0" destOrd="0" parTransId="{017C83FB-9A7C-4BC9-A23A-A32897341965}" sibTransId="{9642EDED-71B7-4961-9190-8E4740A9C3CD}"/>
    <dgm:cxn modelId="{EF084342-6FEC-4529-98F6-AA0EA07BE911}" type="presOf" srcId="{73A087F0-46C3-48DA-BF0A-CB10DC7B42C7}" destId="{632B45EA-9807-4487-8C75-5E8BE0942CFD}" srcOrd="0" destOrd="3" presId="urn:microsoft.com/office/officeart/2005/8/layout/arrow4"/>
    <dgm:cxn modelId="{48CC9F62-A4A6-4591-9EB1-5BAF1B11BAA9}" srcId="{1DF90A85-793C-4D23-857C-43D967C06B43}" destId="{82B4CE7F-C077-40D4-A5F7-5F8213105667}" srcOrd="0" destOrd="0" parTransId="{65D30FF6-D2CE-45A4-848C-9D0E0E885E8C}" sibTransId="{2B937258-177D-4320-8138-6E0F5BBB3D07}"/>
    <dgm:cxn modelId="{ADEB6663-38E1-4133-8721-BDB22F69654C}" srcId="{7FD5023B-4B70-492B-BDA4-E7FA8CE0CDA2}" destId="{88CC9CCE-E363-48B9-AE38-936BB9F4FFD2}" srcOrd="1" destOrd="0" parTransId="{2EB831E1-EBE0-4B79-AEB3-BAC47615C5E8}" sibTransId="{7451D691-B43B-407D-9316-88797D6A95DF}"/>
    <dgm:cxn modelId="{283E1B6C-5489-4914-AF74-877EB0280EF5}" type="presOf" srcId="{0D846958-CED5-41D1-8985-195D96CBBE0E}" destId="{632B45EA-9807-4487-8C75-5E8BE0942CFD}" srcOrd="0" destOrd="2" presId="urn:microsoft.com/office/officeart/2005/8/layout/arrow4"/>
    <dgm:cxn modelId="{DD0D3850-EE68-437F-ABFF-D5A647D7101F}" srcId="{1DF90A85-793C-4D23-857C-43D967C06B43}" destId="{F1E4F2E7-50F1-46A1-8A3E-1F6221B859D4}" srcOrd="5" destOrd="0" parTransId="{910A44C1-8E58-4AB5-A679-45C58A703B5D}" sibTransId="{1B3B872A-81EB-43C9-B974-4D3690FB65CB}"/>
    <dgm:cxn modelId="{95E63A50-7BB1-4BDF-AA14-4BB7CD3E5217}" srcId="{1DF90A85-793C-4D23-857C-43D967C06B43}" destId="{0D846958-CED5-41D1-8985-195D96CBBE0E}" srcOrd="1" destOrd="0" parTransId="{E01ABED7-CACA-4845-94D9-0523C285FD6F}" sibTransId="{86EE148C-8016-4170-BC43-4A5D58CB09A7}"/>
    <dgm:cxn modelId="{C86DF370-772C-46D6-A1E4-A314586C421A}" type="presOf" srcId="{F9490D54-06B6-4188-B70E-16EF18F6EB93}" destId="{DA8AB82A-59C3-4DA6-A3B8-0B010E16EEB8}" srcOrd="0" destOrd="0" presId="urn:microsoft.com/office/officeart/2005/8/layout/arrow4"/>
    <dgm:cxn modelId="{80276074-079F-469B-982B-BEDC9BD5ED8C}" type="presOf" srcId="{345A214D-185B-4D56-BAFE-425FF0E2E706}" destId="{2CF466FB-DC3F-4008-BBB0-A2BA6E5878AF}" srcOrd="0" destOrd="3" presId="urn:microsoft.com/office/officeart/2005/8/layout/arrow4"/>
    <dgm:cxn modelId="{C1D5EC79-9818-47F7-A00D-EDB69E670489}" type="presOf" srcId="{7379C64F-2833-4D1D-8FC5-1F8B9CF1CA3D}" destId="{632B45EA-9807-4487-8C75-5E8BE0942CFD}" srcOrd="0" destOrd="7" presId="urn:microsoft.com/office/officeart/2005/8/layout/arrow4"/>
    <dgm:cxn modelId="{F788577A-937D-4EF0-BA4F-40B79A83CB7C}" type="presOf" srcId="{F1E4F2E7-50F1-46A1-8A3E-1F6221B859D4}" destId="{632B45EA-9807-4487-8C75-5E8BE0942CFD}" srcOrd="0" destOrd="6" presId="urn:microsoft.com/office/officeart/2005/8/layout/arrow4"/>
    <dgm:cxn modelId="{390D5E80-17C0-4DF5-BD68-6EB725233E7C}" type="presOf" srcId="{7DBEB850-0C20-4F23-A568-6DD0355FB2F7}" destId="{2CF466FB-DC3F-4008-BBB0-A2BA6E5878AF}" srcOrd="0" destOrd="1" presId="urn:microsoft.com/office/officeart/2005/8/layout/arrow4"/>
    <dgm:cxn modelId="{48B76686-C8F7-4F7E-860F-1E3A9FEB7FE8}" type="presOf" srcId="{C32D3DBB-5CED-4E7F-8F14-C7E6AF8AFF7B}" destId="{2CF466FB-DC3F-4008-BBB0-A2BA6E5878AF}" srcOrd="0" destOrd="5" presId="urn:microsoft.com/office/officeart/2005/8/layout/arrow4"/>
    <dgm:cxn modelId="{B4DE8EA7-A37A-4B64-A467-99E1FB96A505}" srcId="{7FD5023B-4B70-492B-BDA4-E7FA8CE0CDA2}" destId="{1328AE8E-3987-47D2-BD94-D8B414851071}" srcOrd="3" destOrd="0" parTransId="{72571C58-E2C3-4F19-946C-CE304C33D8F2}" sibTransId="{C15A459F-1D11-482E-835D-85F15952EF84}"/>
    <dgm:cxn modelId="{229AD2AD-7B6E-4F3C-84BF-1F3C7DE37EE1}" srcId="{1DF90A85-793C-4D23-857C-43D967C06B43}" destId="{7379C64F-2833-4D1D-8FC5-1F8B9CF1CA3D}" srcOrd="6" destOrd="0" parTransId="{E1A62C29-1696-440C-A3C7-3F8293438ED9}" sibTransId="{91D0605A-DB84-4EEF-90AF-F15F5BA8D822}"/>
    <dgm:cxn modelId="{5E9F38B6-D145-4508-B2A5-C65EA77ED3E5}" type="presOf" srcId="{353279D3-DACF-414D-8791-7F0CA294A9B5}" destId="{632B45EA-9807-4487-8C75-5E8BE0942CFD}" srcOrd="0" destOrd="4" presId="urn:microsoft.com/office/officeart/2005/8/layout/arrow4"/>
    <dgm:cxn modelId="{7E74B3B7-74D1-49A8-9253-508C96366824}" srcId="{F9490D54-06B6-4188-B70E-16EF18F6EB93}" destId="{7FD5023B-4B70-492B-BDA4-E7FA8CE0CDA2}" srcOrd="1" destOrd="0" parTransId="{9D7B4515-2086-4A53-A352-AA2EBB0E2BCA}" sibTransId="{2FE48366-0B79-4AA3-9E30-E4CBC1B0D651}"/>
    <dgm:cxn modelId="{B25175B9-A5E1-4B0C-B98D-705789FF76F4}" type="presOf" srcId="{7FD5023B-4B70-492B-BDA4-E7FA8CE0CDA2}" destId="{2CF466FB-DC3F-4008-BBB0-A2BA6E5878AF}" srcOrd="0" destOrd="0" presId="urn:microsoft.com/office/officeart/2005/8/layout/arrow4"/>
    <dgm:cxn modelId="{77CCC2BC-3963-41C0-8239-BE8FD4494DDC}" srcId="{1DF90A85-793C-4D23-857C-43D967C06B43}" destId="{353279D3-DACF-414D-8791-7F0CA294A9B5}" srcOrd="3" destOrd="0" parTransId="{1B612DF9-75E2-4A3E-8948-A08CF3EBDD84}" sibTransId="{22D834FE-E288-41DE-B8FA-EEB92EB71AFA}"/>
    <dgm:cxn modelId="{B6115BCC-EAF3-45EE-8969-E075E60F98DD}" type="presOf" srcId="{82B4CE7F-C077-40D4-A5F7-5F8213105667}" destId="{632B45EA-9807-4487-8C75-5E8BE0942CFD}" srcOrd="0" destOrd="1" presId="urn:microsoft.com/office/officeart/2005/8/layout/arrow4"/>
    <dgm:cxn modelId="{B8A1FCEA-EB51-4E30-B26C-5D0181997081}" srcId="{7FD5023B-4B70-492B-BDA4-E7FA8CE0CDA2}" destId="{C32D3DBB-5CED-4E7F-8F14-C7E6AF8AFF7B}" srcOrd="4" destOrd="0" parTransId="{F5F47E9A-43F4-4BB1-8616-56AB97488249}" sibTransId="{A759AB46-59A9-4CDC-9C68-022B70FF5A48}"/>
    <dgm:cxn modelId="{D75D64F0-B8ED-4C0C-87D9-887404BD7B11}" srcId="{7FD5023B-4B70-492B-BDA4-E7FA8CE0CDA2}" destId="{345A214D-185B-4D56-BAFE-425FF0E2E706}" srcOrd="2" destOrd="0" parTransId="{4217992F-7D8B-4209-920D-044845249736}" sibTransId="{5F557444-1C45-482E-80E8-7F568068B796}"/>
    <dgm:cxn modelId="{D4772520-4D27-459D-B2CD-223DBDF54802}" type="presParOf" srcId="{DA8AB82A-59C3-4DA6-A3B8-0B010E16EEB8}" destId="{3B797F4D-038C-432E-8D76-B34777215631}" srcOrd="0" destOrd="0" presId="urn:microsoft.com/office/officeart/2005/8/layout/arrow4"/>
    <dgm:cxn modelId="{1076B76C-BD8D-4F61-B281-84459FA0E313}" type="presParOf" srcId="{DA8AB82A-59C3-4DA6-A3B8-0B010E16EEB8}" destId="{632B45EA-9807-4487-8C75-5E8BE0942CFD}" srcOrd="1" destOrd="0" presId="urn:microsoft.com/office/officeart/2005/8/layout/arrow4"/>
    <dgm:cxn modelId="{45F9C662-9588-4FF0-A229-0A5A76010708}" type="presParOf" srcId="{DA8AB82A-59C3-4DA6-A3B8-0B010E16EEB8}" destId="{455D9DA6-5862-4262-87AE-6F8432FD35B1}" srcOrd="2" destOrd="0" presId="urn:microsoft.com/office/officeart/2005/8/layout/arrow4"/>
    <dgm:cxn modelId="{BF94B8A1-CA1F-4C46-9C1D-76A46A6DFF4B}" type="presParOf" srcId="{DA8AB82A-59C3-4DA6-A3B8-0B010E16EEB8}" destId="{2CF466FB-DC3F-4008-BBB0-A2BA6E5878AF}" srcOrd="3" destOrd="0" presId="urn:microsoft.com/office/officeart/2005/8/layout/arrow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CA939BE-F398-43F9-8A6B-221749524C9D}" type="doc">
      <dgm:prSet loTypeId="urn:microsoft.com/office/officeart/2008/layout/PictureAccentList" loCatId="list" qsTypeId="urn:microsoft.com/office/officeart/2005/8/quickstyle/simple1" qsCatId="simple" csTypeId="urn:microsoft.com/office/officeart/2005/8/colors/accent0_3" csCatId="mainScheme" phldr="1"/>
      <dgm:spPr/>
      <dgm:t>
        <a:bodyPr/>
        <a:lstStyle/>
        <a:p>
          <a:endParaRPr lang="fr-LU"/>
        </a:p>
      </dgm:t>
    </dgm:pt>
    <dgm:pt modelId="{4DCAC8F4-731D-4213-8413-5E802EE43EFF}">
      <dgm:prSet phldrT="[Text]" custT="1"/>
      <dgm:spPr/>
      <dgm:t>
        <a:bodyPr/>
        <a:lstStyle/>
        <a:p>
          <a:r>
            <a:rPr lang="fr-LU" sz="2800"/>
            <a:t>Fatigue and Stress</a:t>
          </a:r>
        </a:p>
      </dgm:t>
    </dgm:pt>
    <dgm:pt modelId="{8AB19654-53AA-4CFF-AB93-A810CAAD4DF6}" type="parTrans" cxnId="{A698A693-4A00-49E3-8C20-3BBE62D4B519}">
      <dgm:prSet/>
      <dgm:spPr/>
      <dgm:t>
        <a:bodyPr/>
        <a:lstStyle/>
        <a:p>
          <a:endParaRPr lang="fr-LU"/>
        </a:p>
      </dgm:t>
    </dgm:pt>
    <dgm:pt modelId="{AC81AB28-4DA8-4C99-9E1F-F8D72AA264C9}" type="sibTrans" cxnId="{A698A693-4A00-49E3-8C20-3BBE62D4B519}">
      <dgm:prSet/>
      <dgm:spPr/>
      <dgm:t>
        <a:bodyPr/>
        <a:lstStyle/>
        <a:p>
          <a:endParaRPr lang="fr-LU"/>
        </a:p>
      </dgm:t>
    </dgm:pt>
    <dgm:pt modelId="{A242FF1B-1D72-4657-85FB-018274C7A354}">
      <dgm:prSet phldrT="[Text]"/>
      <dgm:spPr/>
      <dgm:t>
        <a:bodyPr/>
        <a:lstStyle/>
        <a:p>
          <a:r>
            <a:rPr lang="fr-LU" b="1"/>
            <a:t>Cognitive and Physical </a:t>
          </a:r>
          <a:r>
            <a:rPr lang="fr-LU" b="1" err="1"/>
            <a:t>load</a:t>
          </a:r>
          <a:r>
            <a:rPr lang="fr-LU" b="1"/>
            <a:t> of </a:t>
          </a:r>
          <a:r>
            <a:rPr lang="fr-LU" b="1" err="1"/>
            <a:t>work</a:t>
          </a:r>
          <a:endParaRPr lang="fr-LU" b="1"/>
        </a:p>
        <a:p>
          <a:r>
            <a:rPr lang="fr-LU"/>
            <a:t>(</a:t>
          </a:r>
          <a:r>
            <a:rPr lang="fr-LU" err="1"/>
            <a:t>complexity</a:t>
          </a:r>
          <a:r>
            <a:rPr lang="fr-LU"/>
            <a:t> of </a:t>
          </a:r>
          <a:r>
            <a:rPr lang="fr-LU" err="1"/>
            <a:t>tasks</a:t>
          </a:r>
          <a:r>
            <a:rPr lang="fr-LU"/>
            <a:t>, </a:t>
          </a:r>
          <a:r>
            <a:rPr lang="fr-LU" err="1"/>
            <a:t>intensity</a:t>
          </a:r>
          <a:r>
            <a:rPr lang="fr-LU"/>
            <a:t> …)</a:t>
          </a:r>
        </a:p>
      </dgm:t>
    </dgm:pt>
    <dgm:pt modelId="{4C832640-9D1E-4195-921E-D6B3CAC0F95E}" type="parTrans" cxnId="{14CB328F-D76D-4FA5-AFEC-F37B4D1C19DE}">
      <dgm:prSet/>
      <dgm:spPr/>
      <dgm:t>
        <a:bodyPr/>
        <a:lstStyle/>
        <a:p>
          <a:endParaRPr lang="fr-LU"/>
        </a:p>
      </dgm:t>
    </dgm:pt>
    <dgm:pt modelId="{A26E7DC1-41E0-480F-97C9-ABA337E98373}" type="sibTrans" cxnId="{14CB328F-D76D-4FA5-AFEC-F37B4D1C19DE}">
      <dgm:prSet/>
      <dgm:spPr/>
      <dgm:t>
        <a:bodyPr/>
        <a:lstStyle/>
        <a:p>
          <a:endParaRPr lang="fr-LU"/>
        </a:p>
      </dgm:t>
    </dgm:pt>
    <dgm:pt modelId="{4F2629C6-08E2-4B37-AD63-BCD03457F67E}">
      <dgm:prSet phldrT="[Text]"/>
      <dgm:spPr/>
      <dgm:t>
        <a:bodyPr/>
        <a:lstStyle/>
        <a:p>
          <a:r>
            <a:rPr lang="fr-LU" b="1" err="1"/>
            <a:t>Working</a:t>
          </a:r>
          <a:r>
            <a:rPr lang="fr-LU" b="1"/>
            <a:t> conditions and </a:t>
          </a:r>
          <a:r>
            <a:rPr lang="fr-LU" b="1" err="1"/>
            <a:t>environment</a:t>
          </a:r>
          <a:endParaRPr lang="fr-LU" b="1"/>
        </a:p>
        <a:p>
          <a:r>
            <a:rPr lang="fr-LU"/>
            <a:t>(light, noise, </a:t>
          </a:r>
          <a:r>
            <a:rPr lang="fr-LU" err="1"/>
            <a:t>temperature</a:t>
          </a:r>
          <a:r>
            <a:rPr lang="fr-LU"/>
            <a:t>, pollution, </a:t>
          </a:r>
          <a:r>
            <a:rPr lang="fr-LU" err="1"/>
            <a:t>layout</a:t>
          </a:r>
          <a:r>
            <a:rPr lang="fr-LU"/>
            <a:t> …)</a:t>
          </a:r>
        </a:p>
      </dgm:t>
    </dgm:pt>
    <dgm:pt modelId="{40607AFF-1218-40E0-BFFD-7CE0CF5D8915}" type="parTrans" cxnId="{9F6915FB-596F-436D-AB16-42B9625EAAD4}">
      <dgm:prSet/>
      <dgm:spPr/>
      <dgm:t>
        <a:bodyPr/>
        <a:lstStyle/>
        <a:p>
          <a:endParaRPr lang="fr-LU"/>
        </a:p>
      </dgm:t>
    </dgm:pt>
    <dgm:pt modelId="{370C3943-2693-4234-B6C0-270B09507D2B}" type="sibTrans" cxnId="{9F6915FB-596F-436D-AB16-42B9625EAAD4}">
      <dgm:prSet/>
      <dgm:spPr/>
      <dgm:t>
        <a:bodyPr/>
        <a:lstStyle/>
        <a:p>
          <a:endParaRPr lang="fr-LU"/>
        </a:p>
      </dgm:t>
    </dgm:pt>
    <dgm:pt modelId="{D25DB7F5-5F3A-4D3E-8821-821B1033D93A}">
      <dgm:prSet phldrT="[Text]"/>
      <dgm:spPr/>
      <dgm:t>
        <a:bodyPr/>
        <a:lstStyle/>
        <a:p>
          <a:r>
            <a:rPr lang="fr-LU" b="1"/>
            <a:t>Work planning and </a:t>
          </a:r>
          <a:r>
            <a:rPr lang="fr-LU" b="1" err="1"/>
            <a:t>scheduling</a:t>
          </a:r>
          <a:endParaRPr lang="fr-LU" b="1"/>
        </a:p>
        <a:p>
          <a:r>
            <a:rPr lang="fr-LU" b="0"/>
            <a:t>(</a:t>
          </a:r>
          <a:r>
            <a:rPr lang="fr-LU" b="0" err="1"/>
            <a:t>tasks</a:t>
          </a:r>
          <a:r>
            <a:rPr lang="fr-LU" b="0"/>
            <a:t> allocation, </a:t>
          </a:r>
          <a:r>
            <a:rPr lang="fr-LU" b="0" err="1"/>
            <a:t>pacing</a:t>
          </a:r>
          <a:r>
            <a:rPr lang="fr-LU" b="0"/>
            <a:t> …)</a:t>
          </a:r>
        </a:p>
      </dgm:t>
    </dgm:pt>
    <dgm:pt modelId="{9FE21468-1A63-4C5C-BBC6-C2B153545315}" type="parTrans" cxnId="{C6EC00B5-BF21-46AE-AC8F-DA43F655DB8B}">
      <dgm:prSet/>
      <dgm:spPr/>
      <dgm:t>
        <a:bodyPr/>
        <a:lstStyle/>
        <a:p>
          <a:endParaRPr lang="fr-LU"/>
        </a:p>
      </dgm:t>
    </dgm:pt>
    <dgm:pt modelId="{C29496C8-F1C8-414B-8ACF-C32F1E948AB4}" type="sibTrans" cxnId="{C6EC00B5-BF21-46AE-AC8F-DA43F655DB8B}">
      <dgm:prSet/>
      <dgm:spPr/>
      <dgm:t>
        <a:bodyPr/>
        <a:lstStyle/>
        <a:p>
          <a:endParaRPr lang="fr-LU"/>
        </a:p>
      </dgm:t>
    </dgm:pt>
    <dgm:pt modelId="{CBE030AE-A0F4-4080-BE4B-FDA2457DA5A9}">
      <dgm:prSet phldrT="[Text]"/>
      <dgm:spPr/>
      <dgm:t>
        <a:bodyPr/>
        <a:lstStyle/>
        <a:p>
          <a:r>
            <a:rPr lang="fr-LU" b="1"/>
            <a:t>Organisation and staff</a:t>
          </a:r>
        </a:p>
        <a:p>
          <a:r>
            <a:rPr lang="fr-LU" b="0"/>
            <a:t>(management vs </a:t>
          </a:r>
          <a:r>
            <a:rPr lang="fr-LU" b="0" err="1"/>
            <a:t>operational</a:t>
          </a:r>
          <a:r>
            <a:rPr lang="fr-LU" b="0"/>
            <a:t> </a:t>
          </a:r>
          <a:r>
            <a:rPr lang="fr-LU" b="0" err="1"/>
            <a:t>functions</a:t>
          </a:r>
          <a:r>
            <a:rPr lang="fr-LU" b="0"/>
            <a:t>, staffs </a:t>
          </a:r>
          <a:r>
            <a:rPr lang="fr-LU" b="0" err="1"/>
            <a:t>involved</a:t>
          </a:r>
          <a:r>
            <a:rPr lang="fr-LU" b="0"/>
            <a:t>)</a:t>
          </a:r>
        </a:p>
      </dgm:t>
    </dgm:pt>
    <dgm:pt modelId="{BBD6131C-38C6-4F1A-9D63-05F7EDF36DC9}" type="parTrans" cxnId="{AC63ECCA-DA4C-4F33-9A6A-E16FCEE23A5E}">
      <dgm:prSet/>
      <dgm:spPr/>
      <dgm:t>
        <a:bodyPr/>
        <a:lstStyle/>
        <a:p>
          <a:endParaRPr lang="fr-LU"/>
        </a:p>
      </dgm:t>
    </dgm:pt>
    <dgm:pt modelId="{4AA04B10-3736-4789-BEAC-EA48F42B424C}" type="sibTrans" cxnId="{AC63ECCA-DA4C-4F33-9A6A-E16FCEE23A5E}">
      <dgm:prSet/>
      <dgm:spPr/>
      <dgm:t>
        <a:bodyPr/>
        <a:lstStyle/>
        <a:p>
          <a:endParaRPr lang="fr-LU"/>
        </a:p>
      </dgm:t>
    </dgm:pt>
    <dgm:pt modelId="{94357AA2-C834-4E43-9C67-21C234FF07F6}">
      <dgm:prSet phldrT="[Text]"/>
      <dgm:spPr/>
      <dgm:t>
        <a:bodyPr/>
        <a:lstStyle/>
        <a:p>
          <a:r>
            <a:rPr lang="fr-LU" b="1" err="1"/>
            <a:t>Individual</a:t>
          </a:r>
          <a:r>
            <a:rPr lang="fr-LU" b="1"/>
            <a:t> lifestyle and </a:t>
          </a:r>
          <a:r>
            <a:rPr lang="fr-LU" b="1" err="1"/>
            <a:t>health</a:t>
          </a:r>
          <a:endParaRPr lang="fr-LU" b="1"/>
        </a:p>
        <a:p>
          <a:r>
            <a:rPr lang="fr-LU" b="0"/>
            <a:t>(</a:t>
          </a:r>
          <a:r>
            <a:rPr lang="fr-LU" b="0" err="1"/>
            <a:t>food</a:t>
          </a:r>
          <a:r>
            <a:rPr lang="fr-LU" b="0"/>
            <a:t> habits, sports, </a:t>
          </a:r>
          <a:r>
            <a:rPr lang="fr-LU" b="0" err="1"/>
            <a:t>restings</a:t>
          </a:r>
          <a:r>
            <a:rPr lang="fr-LU" b="0"/>
            <a:t>)</a:t>
          </a:r>
        </a:p>
      </dgm:t>
    </dgm:pt>
    <dgm:pt modelId="{3422B813-6064-4923-ADCA-2716FDC90DB4}" type="parTrans" cxnId="{7A3B419D-F0D5-4C72-B232-D62389967F5C}">
      <dgm:prSet/>
      <dgm:spPr/>
      <dgm:t>
        <a:bodyPr/>
        <a:lstStyle/>
        <a:p>
          <a:endParaRPr lang="fr-LU"/>
        </a:p>
      </dgm:t>
    </dgm:pt>
    <dgm:pt modelId="{25AAC1D3-A955-4087-86F0-5B00CEA292FD}" type="sibTrans" cxnId="{7A3B419D-F0D5-4C72-B232-D62389967F5C}">
      <dgm:prSet/>
      <dgm:spPr/>
      <dgm:t>
        <a:bodyPr/>
        <a:lstStyle/>
        <a:p>
          <a:endParaRPr lang="fr-LU"/>
        </a:p>
      </dgm:t>
    </dgm:pt>
    <dgm:pt modelId="{F4F25EF1-F756-41FB-9F55-FF69F7D70278}">
      <dgm:prSet phldrT="[Text]"/>
      <dgm:spPr/>
      <dgm:t>
        <a:bodyPr/>
        <a:lstStyle/>
        <a:p>
          <a:r>
            <a:rPr lang="fr-LU" b="1" err="1"/>
            <a:t>Individual</a:t>
          </a:r>
          <a:r>
            <a:rPr lang="fr-LU" b="1"/>
            <a:t> </a:t>
          </a:r>
          <a:r>
            <a:rPr lang="fr-LU" b="1" err="1"/>
            <a:t>skills</a:t>
          </a:r>
          <a:r>
            <a:rPr lang="fr-LU" b="1"/>
            <a:t> and </a:t>
          </a:r>
          <a:r>
            <a:rPr lang="fr-LU" b="1" err="1"/>
            <a:t>abilities</a:t>
          </a:r>
          <a:endParaRPr lang="fr-LU" b="1"/>
        </a:p>
        <a:p>
          <a:r>
            <a:rPr lang="fr-LU"/>
            <a:t>(</a:t>
          </a:r>
          <a:r>
            <a:rPr lang="fr-LU" err="1"/>
            <a:t>knowledge</a:t>
          </a:r>
          <a:r>
            <a:rPr lang="fr-LU"/>
            <a:t>, </a:t>
          </a:r>
          <a:r>
            <a:rPr lang="fr-LU" err="1"/>
            <a:t>experience</a:t>
          </a:r>
          <a:r>
            <a:rPr lang="fr-LU"/>
            <a:t>, stress handling …)</a:t>
          </a:r>
        </a:p>
      </dgm:t>
    </dgm:pt>
    <dgm:pt modelId="{27102B4E-743C-4B14-9447-10CBF535384D}" type="parTrans" cxnId="{282B6EE8-98F1-40BB-B3DE-57DA53557058}">
      <dgm:prSet/>
      <dgm:spPr/>
      <dgm:t>
        <a:bodyPr/>
        <a:lstStyle/>
        <a:p>
          <a:endParaRPr lang="fr-LU"/>
        </a:p>
      </dgm:t>
    </dgm:pt>
    <dgm:pt modelId="{16934DF6-ED5F-4253-9DD0-EEABEA7B256E}" type="sibTrans" cxnId="{282B6EE8-98F1-40BB-B3DE-57DA53557058}">
      <dgm:prSet/>
      <dgm:spPr/>
      <dgm:t>
        <a:bodyPr/>
        <a:lstStyle/>
        <a:p>
          <a:endParaRPr lang="fr-LU"/>
        </a:p>
      </dgm:t>
    </dgm:pt>
    <dgm:pt modelId="{DCD0545B-FC36-4013-8E2C-0BB17666D8A6}" type="pres">
      <dgm:prSet presAssocID="{ECA939BE-F398-43F9-8A6B-221749524C9D}" presName="layout" presStyleCnt="0">
        <dgm:presLayoutVars>
          <dgm:chMax/>
          <dgm:chPref/>
          <dgm:dir/>
          <dgm:animOne val="branch"/>
          <dgm:animLvl val="lvl"/>
          <dgm:resizeHandles/>
        </dgm:presLayoutVars>
      </dgm:prSet>
      <dgm:spPr/>
    </dgm:pt>
    <dgm:pt modelId="{45D41BB9-4964-4315-A1FD-ED9A8EC8B636}" type="pres">
      <dgm:prSet presAssocID="{4DCAC8F4-731D-4213-8413-5E802EE43EFF}" presName="root" presStyleCnt="0">
        <dgm:presLayoutVars>
          <dgm:chMax/>
          <dgm:chPref val="4"/>
        </dgm:presLayoutVars>
      </dgm:prSet>
      <dgm:spPr/>
    </dgm:pt>
    <dgm:pt modelId="{AEB73289-73C0-4E47-90C0-41A14EEAADEA}" type="pres">
      <dgm:prSet presAssocID="{4DCAC8F4-731D-4213-8413-5E802EE43EFF}" presName="rootComposite" presStyleCnt="0">
        <dgm:presLayoutVars/>
      </dgm:prSet>
      <dgm:spPr/>
    </dgm:pt>
    <dgm:pt modelId="{98E090C6-A80F-445F-B0F7-44F10DA3EAE8}" type="pres">
      <dgm:prSet presAssocID="{4DCAC8F4-731D-4213-8413-5E802EE43EFF}" presName="rootText" presStyleLbl="node0" presStyleIdx="0" presStyleCnt="1">
        <dgm:presLayoutVars>
          <dgm:chMax/>
          <dgm:chPref val="4"/>
        </dgm:presLayoutVars>
      </dgm:prSet>
      <dgm:spPr/>
    </dgm:pt>
    <dgm:pt modelId="{F95D55D0-5E97-469B-8345-21313A955552}" type="pres">
      <dgm:prSet presAssocID="{4DCAC8F4-731D-4213-8413-5E802EE43EFF}" presName="childShape" presStyleCnt="0">
        <dgm:presLayoutVars>
          <dgm:chMax val="0"/>
          <dgm:chPref val="0"/>
        </dgm:presLayoutVars>
      </dgm:prSet>
      <dgm:spPr/>
    </dgm:pt>
    <dgm:pt modelId="{5F5AA196-EF84-499D-8B1A-D810FC539CF5}" type="pres">
      <dgm:prSet presAssocID="{A242FF1B-1D72-4657-85FB-018274C7A354}" presName="childComposite" presStyleCnt="0">
        <dgm:presLayoutVars>
          <dgm:chMax val="0"/>
          <dgm:chPref val="0"/>
        </dgm:presLayoutVars>
      </dgm:prSet>
      <dgm:spPr/>
    </dgm:pt>
    <dgm:pt modelId="{E43EFDED-51B6-4CEC-B0CF-DF2974B62E16}" type="pres">
      <dgm:prSet presAssocID="{A242FF1B-1D72-4657-85FB-018274C7A354}" presName="Image"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Mental Health with solid fill"/>
        </a:ext>
      </dgm:extLst>
    </dgm:pt>
    <dgm:pt modelId="{3559D58E-B0C5-4828-9937-5E895E9EDF56}" type="pres">
      <dgm:prSet presAssocID="{A242FF1B-1D72-4657-85FB-018274C7A354}" presName="childText" presStyleLbl="lnNode1" presStyleIdx="0" presStyleCnt="6">
        <dgm:presLayoutVars>
          <dgm:chMax val="0"/>
          <dgm:chPref val="0"/>
          <dgm:bulletEnabled val="1"/>
        </dgm:presLayoutVars>
      </dgm:prSet>
      <dgm:spPr/>
    </dgm:pt>
    <dgm:pt modelId="{DEEF8186-5CAF-4D9A-BCD3-FE60AB8C8F93}" type="pres">
      <dgm:prSet presAssocID="{4F2629C6-08E2-4B37-AD63-BCD03457F67E}" presName="childComposite" presStyleCnt="0">
        <dgm:presLayoutVars>
          <dgm:chMax val="0"/>
          <dgm:chPref val="0"/>
        </dgm:presLayoutVars>
      </dgm:prSet>
      <dgm:spPr/>
    </dgm:pt>
    <dgm:pt modelId="{E862EEC5-3712-4223-95AA-610E5778B6C8}" type="pres">
      <dgm:prSet presAssocID="{4F2629C6-08E2-4B37-AD63-BCD03457F67E}" presName="Image"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Factory with solid fill"/>
        </a:ext>
      </dgm:extLst>
    </dgm:pt>
    <dgm:pt modelId="{B4E175D4-1780-48C4-AFAC-3464CAF6A675}" type="pres">
      <dgm:prSet presAssocID="{4F2629C6-08E2-4B37-AD63-BCD03457F67E}" presName="childText" presStyleLbl="lnNode1" presStyleIdx="1" presStyleCnt="6">
        <dgm:presLayoutVars>
          <dgm:chMax val="0"/>
          <dgm:chPref val="0"/>
          <dgm:bulletEnabled val="1"/>
        </dgm:presLayoutVars>
      </dgm:prSet>
      <dgm:spPr/>
    </dgm:pt>
    <dgm:pt modelId="{BC74BACF-B594-4F0D-8662-767607BEA116}" type="pres">
      <dgm:prSet presAssocID="{D25DB7F5-5F3A-4D3E-8821-821B1033D93A}" presName="childComposite" presStyleCnt="0">
        <dgm:presLayoutVars>
          <dgm:chMax val="0"/>
          <dgm:chPref val="0"/>
        </dgm:presLayoutVars>
      </dgm:prSet>
      <dgm:spPr/>
    </dgm:pt>
    <dgm:pt modelId="{C3E21CF9-2771-479F-877B-7BF61A5D34AA}" type="pres">
      <dgm:prSet presAssocID="{D25DB7F5-5F3A-4D3E-8821-821B1033D93A}" presName="Image"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onthly calendar with solid fill"/>
        </a:ext>
      </dgm:extLst>
    </dgm:pt>
    <dgm:pt modelId="{845FB125-0AD5-426C-9474-F2FBA52ADC18}" type="pres">
      <dgm:prSet presAssocID="{D25DB7F5-5F3A-4D3E-8821-821B1033D93A}" presName="childText" presStyleLbl="lnNode1" presStyleIdx="2" presStyleCnt="6">
        <dgm:presLayoutVars>
          <dgm:chMax val="0"/>
          <dgm:chPref val="0"/>
          <dgm:bulletEnabled val="1"/>
        </dgm:presLayoutVars>
      </dgm:prSet>
      <dgm:spPr/>
    </dgm:pt>
    <dgm:pt modelId="{4845D21F-07DF-4755-9001-C449D29ACEEC}" type="pres">
      <dgm:prSet presAssocID="{CBE030AE-A0F4-4080-BE4B-FDA2457DA5A9}" presName="childComposite" presStyleCnt="0">
        <dgm:presLayoutVars>
          <dgm:chMax val="0"/>
          <dgm:chPref val="0"/>
        </dgm:presLayoutVars>
      </dgm:prSet>
      <dgm:spPr/>
    </dgm:pt>
    <dgm:pt modelId="{2070A03B-3D60-4692-9A04-D664F6B2E37A}" type="pres">
      <dgm:prSet presAssocID="{CBE030AE-A0F4-4080-BE4B-FDA2457DA5A9}" presName="Image"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Management with solid fill"/>
        </a:ext>
      </dgm:extLst>
    </dgm:pt>
    <dgm:pt modelId="{59C05FF5-1447-4E04-8723-7BA7F9BBC47D}" type="pres">
      <dgm:prSet presAssocID="{CBE030AE-A0F4-4080-BE4B-FDA2457DA5A9}" presName="childText" presStyleLbl="lnNode1" presStyleIdx="3" presStyleCnt="6">
        <dgm:presLayoutVars>
          <dgm:chMax val="0"/>
          <dgm:chPref val="0"/>
          <dgm:bulletEnabled val="1"/>
        </dgm:presLayoutVars>
      </dgm:prSet>
      <dgm:spPr/>
    </dgm:pt>
    <dgm:pt modelId="{1ED9BCC8-4CBC-435B-8ABA-B622C11077D5}" type="pres">
      <dgm:prSet presAssocID="{94357AA2-C834-4E43-9C67-21C234FF07F6}" presName="childComposite" presStyleCnt="0">
        <dgm:presLayoutVars>
          <dgm:chMax val="0"/>
          <dgm:chPref val="0"/>
        </dgm:presLayoutVars>
      </dgm:prSet>
      <dgm:spPr/>
    </dgm:pt>
    <dgm:pt modelId="{5F31AF2C-900B-4A35-8DE9-F66CB28EE95B}" type="pres">
      <dgm:prSet presAssocID="{94357AA2-C834-4E43-9C67-21C234FF07F6}" presName="Image" presStyleLbl="node1" presStyleIdx="4" presStyleCnt="6"/>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Restaurant with solid fill"/>
        </a:ext>
      </dgm:extLst>
    </dgm:pt>
    <dgm:pt modelId="{8BB6C954-7F1E-4226-9ED4-942C49933EC3}" type="pres">
      <dgm:prSet presAssocID="{94357AA2-C834-4E43-9C67-21C234FF07F6}" presName="childText" presStyleLbl="lnNode1" presStyleIdx="4" presStyleCnt="6">
        <dgm:presLayoutVars>
          <dgm:chMax val="0"/>
          <dgm:chPref val="0"/>
          <dgm:bulletEnabled val="1"/>
        </dgm:presLayoutVars>
      </dgm:prSet>
      <dgm:spPr/>
    </dgm:pt>
    <dgm:pt modelId="{BB9B0A27-0836-421D-B106-71C2B456F34F}" type="pres">
      <dgm:prSet presAssocID="{F4F25EF1-F756-41FB-9F55-FF69F7D70278}" presName="childComposite" presStyleCnt="0">
        <dgm:presLayoutVars>
          <dgm:chMax val="0"/>
          <dgm:chPref val="0"/>
        </dgm:presLayoutVars>
      </dgm:prSet>
      <dgm:spPr/>
    </dgm:pt>
    <dgm:pt modelId="{C86B356B-48C4-4923-A823-FB8EFF033C00}" type="pres">
      <dgm:prSet presAssocID="{F4F25EF1-F756-41FB-9F55-FF69F7D70278}" presName="Image" presStyleLbl="node1" presStyleIdx="5" presStyleCnt="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Head with gears with solid fill"/>
        </a:ext>
      </dgm:extLst>
    </dgm:pt>
    <dgm:pt modelId="{1FEB5271-7910-44C6-8722-DFECF08238B0}" type="pres">
      <dgm:prSet presAssocID="{F4F25EF1-F756-41FB-9F55-FF69F7D70278}" presName="childText" presStyleLbl="lnNode1" presStyleIdx="5" presStyleCnt="6">
        <dgm:presLayoutVars>
          <dgm:chMax val="0"/>
          <dgm:chPref val="0"/>
          <dgm:bulletEnabled val="1"/>
        </dgm:presLayoutVars>
      </dgm:prSet>
      <dgm:spPr/>
    </dgm:pt>
  </dgm:ptLst>
  <dgm:cxnLst>
    <dgm:cxn modelId="{533DF50C-15F6-4764-8C0D-E6A132B2DDC6}" type="presOf" srcId="{A242FF1B-1D72-4657-85FB-018274C7A354}" destId="{3559D58E-B0C5-4828-9937-5E895E9EDF56}" srcOrd="0" destOrd="0" presId="urn:microsoft.com/office/officeart/2008/layout/PictureAccentList"/>
    <dgm:cxn modelId="{6EF07025-503E-44D5-84DA-CE3E6D7A1B1B}" type="presOf" srcId="{4DCAC8F4-731D-4213-8413-5E802EE43EFF}" destId="{98E090C6-A80F-445F-B0F7-44F10DA3EAE8}" srcOrd="0" destOrd="0" presId="urn:microsoft.com/office/officeart/2008/layout/PictureAccentList"/>
    <dgm:cxn modelId="{77C1D82F-8CD8-484D-BD86-5CCB978E16FF}" type="presOf" srcId="{94357AA2-C834-4E43-9C67-21C234FF07F6}" destId="{8BB6C954-7F1E-4226-9ED4-942C49933EC3}" srcOrd="0" destOrd="0" presId="urn:microsoft.com/office/officeart/2008/layout/PictureAccentList"/>
    <dgm:cxn modelId="{14CB328F-D76D-4FA5-AFEC-F37B4D1C19DE}" srcId="{4DCAC8F4-731D-4213-8413-5E802EE43EFF}" destId="{A242FF1B-1D72-4657-85FB-018274C7A354}" srcOrd="0" destOrd="0" parTransId="{4C832640-9D1E-4195-921E-D6B3CAC0F95E}" sibTransId="{A26E7DC1-41E0-480F-97C9-ABA337E98373}"/>
    <dgm:cxn modelId="{A698A693-4A00-49E3-8C20-3BBE62D4B519}" srcId="{ECA939BE-F398-43F9-8A6B-221749524C9D}" destId="{4DCAC8F4-731D-4213-8413-5E802EE43EFF}" srcOrd="0" destOrd="0" parTransId="{8AB19654-53AA-4CFF-AB93-A810CAAD4DF6}" sibTransId="{AC81AB28-4DA8-4C99-9E1F-F8D72AA264C9}"/>
    <dgm:cxn modelId="{4EAE3496-58F3-40B4-AB76-DD936EAD5108}" type="presOf" srcId="{ECA939BE-F398-43F9-8A6B-221749524C9D}" destId="{DCD0545B-FC36-4013-8E2C-0BB17666D8A6}" srcOrd="0" destOrd="0" presId="urn:microsoft.com/office/officeart/2008/layout/PictureAccentList"/>
    <dgm:cxn modelId="{AC95229B-E6B0-4D76-8582-01B05BF050AD}" type="presOf" srcId="{CBE030AE-A0F4-4080-BE4B-FDA2457DA5A9}" destId="{59C05FF5-1447-4E04-8723-7BA7F9BBC47D}" srcOrd="0" destOrd="0" presId="urn:microsoft.com/office/officeart/2008/layout/PictureAccentList"/>
    <dgm:cxn modelId="{7A3B419D-F0D5-4C72-B232-D62389967F5C}" srcId="{4DCAC8F4-731D-4213-8413-5E802EE43EFF}" destId="{94357AA2-C834-4E43-9C67-21C234FF07F6}" srcOrd="4" destOrd="0" parTransId="{3422B813-6064-4923-ADCA-2716FDC90DB4}" sibTransId="{25AAC1D3-A955-4087-86F0-5B00CEA292FD}"/>
    <dgm:cxn modelId="{77C34AA8-D791-4176-A86B-604F2F209B94}" type="presOf" srcId="{F4F25EF1-F756-41FB-9F55-FF69F7D70278}" destId="{1FEB5271-7910-44C6-8722-DFECF08238B0}" srcOrd="0" destOrd="0" presId="urn:microsoft.com/office/officeart/2008/layout/PictureAccentList"/>
    <dgm:cxn modelId="{C6EC00B5-BF21-46AE-AC8F-DA43F655DB8B}" srcId="{4DCAC8F4-731D-4213-8413-5E802EE43EFF}" destId="{D25DB7F5-5F3A-4D3E-8821-821B1033D93A}" srcOrd="2" destOrd="0" parTransId="{9FE21468-1A63-4C5C-BBC6-C2B153545315}" sibTransId="{C29496C8-F1C8-414B-8ACF-C32F1E948AB4}"/>
    <dgm:cxn modelId="{AC63ECCA-DA4C-4F33-9A6A-E16FCEE23A5E}" srcId="{4DCAC8F4-731D-4213-8413-5E802EE43EFF}" destId="{CBE030AE-A0F4-4080-BE4B-FDA2457DA5A9}" srcOrd="3" destOrd="0" parTransId="{BBD6131C-38C6-4F1A-9D63-05F7EDF36DC9}" sibTransId="{4AA04B10-3736-4789-BEAC-EA48F42B424C}"/>
    <dgm:cxn modelId="{52EE94D3-CDA7-4A39-833E-A3A6137368D2}" type="presOf" srcId="{4F2629C6-08E2-4B37-AD63-BCD03457F67E}" destId="{B4E175D4-1780-48C4-AFAC-3464CAF6A675}" srcOrd="0" destOrd="0" presId="urn:microsoft.com/office/officeart/2008/layout/PictureAccentList"/>
    <dgm:cxn modelId="{EB75E4E1-75CD-4E03-8BA4-B80D5D474704}" type="presOf" srcId="{D25DB7F5-5F3A-4D3E-8821-821B1033D93A}" destId="{845FB125-0AD5-426C-9474-F2FBA52ADC18}" srcOrd="0" destOrd="0" presId="urn:microsoft.com/office/officeart/2008/layout/PictureAccentList"/>
    <dgm:cxn modelId="{282B6EE8-98F1-40BB-B3DE-57DA53557058}" srcId="{4DCAC8F4-731D-4213-8413-5E802EE43EFF}" destId="{F4F25EF1-F756-41FB-9F55-FF69F7D70278}" srcOrd="5" destOrd="0" parTransId="{27102B4E-743C-4B14-9447-10CBF535384D}" sibTransId="{16934DF6-ED5F-4253-9DD0-EEABEA7B256E}"/>
    <dgm:cxn modelId="{9F6915FB-596F-436D-AB16-42B9625EAAD4}" srcId="{4DCAC8F4-731D-4213-8413-5E802EE43EFF}" destId="{4F2629C6-08E2-4B37-AD63-BCD03457F67E}" srcOrd="1" destOrd="0" parTransId="{40607AFF-1218-40E0-BFFD-7CE0CF5D8915}" sibTransId="{370C3943-2693-4234-B6C0-270B09507D2B}"/>
    <dgm:cxn modelId="{4D930C59-8F67-437F-9E4C-6438D4494BAA}" type="presParOf" srcId="{DCD0545B-FC36-4013-8E2C-0BB17666D8A6}" destId="{45D41BB9-4964-4315-A1FD-ED9A8EC8B636}" srcOrd="0" destOrd="0" presId="urn:microsoft.com/office/officeart/2008/layout/PictureAccentList"/>
    <dgm:cxn modelId="{2E68D40E-7063-4B2C-92E9-2D3B3888BFCB}" type="presParOf" srcId="{45D41BB9-4964-4315-A1FD-ED9A8EC8B636}" destId="{AEB73289-73C0-4E47-90C0-41A14EEAADEA}" srcOrd="0" destOrd="0" presId="urn:microsoft.com/office/officeart/2008/layout/PictureAccentList"/>
    <dgm:cxn modelId="{F0BD214D-1AFA-4097-96AF-0F5FFBB08F6F}" type="presParOf" srcId="{AEB73289-73C0-4E47-90C0-41A14EEAADEA}" destId="{98E090C6-A80F-445F-B0F7-44F10DA3EAE8}" srcOrd="0" destOrd="0" presId="urn:microsoft.com/office/officeart/2008/layout/PictureAccentList"/>
    <dgm:cxn modelId="{BE0D847C-209F-4AF1-ADD2-D19B4E6AE7A4}" type="presParOf" srcId="{45D41BB9-4964-4315-A1FD-ED9A8EC8B636}" destId="{F95D55D0-5E97-469B-8345-21313A955552}" srcOrd="1" destOrd="0" presId="urn:microsoft.com/office/officeart/2008/layout/PictureAccentList"/>
    <dgm:cxn modelId="{C111C7A2-FA43-47D3-8B5F-011ABEC961AB}" type="presParOf" srcId="{F95D55D0-5E97-469B-8345-21313A955552}" destId="{5F5AA196-EF84-499D-8B1A-D810FC539CF5}" srcOrd="0" destOrd="0" presId="urn:microsoft.com/office/officeart/2008/layout/PictureAccentList"/>
    <dgm:cxn modelId="{16B51E35-EC37-4D7C-BE5F-7AF60C3DBCC3}" type="presParOf" srcId="{5F5AA196-EF84-499D-8B1A-D810FC539CF5}" destId="{E43EFDED-51B6-4CEC-B0CF-DF2974B62E16}" srcOrd="0" destOrd="0" presId="urn:microsoft.com/office/officeart/2008/layout/PictureAccentList"/>
    <dgm:cxn modelId="{2D7A86F6-AB50-44F7-A356-B01BE4A98366}" type="presParOf" srcId="{5F5AA196-EF84-499D-8B1A-D810FC539CF5}" destId="{3559D58E-B0C5-4828-9937-5E895E9EDF56}" srcOrd="1" destOrd="0" presId="urn:microsoft.com/office/officeart/2008/layout/PictureAccentList"/>
    <dgm:cxn modelId="{9C50CB16-E0E3-4F6E-8CB6-B8465FC5F905}" type="presParOf" srcId="{F95D55D0-5E97-469B-8345-21313A955552}" destId="{DEEF8186-5CAF-4D9A-BCD3-FE60AB8C8F93}" srcOrd="1" destOrd="0" presId="urn:microsoft.com/office/officeart/2008/layout/PictureAccentList"/>
    <dgm:cxn modelId="{829A2F23-D30E-4D80-B85F-3BB65A17681A}" type="presParOf" srcId="{DEEF8186-5CAF-4D9A-BCD3-FE60AB8C8F93}" destId="{E862EEC5-3712-4223-95AA-610E5778B6C8}" srcOrd="0" destOrd="0" presId="urn:microsoft.com/office/officeart/2008/layout/PictureAccentList"/>
    <dgm:cxn modelId="{632CAAA8-F49C-4CA8-8831-307956D2F46C}" type="presParOf" srcId="{DEEF8186-5CAF-4D9A-BCD3-FE60AB8C8F93}" destId="{B4E175D4-1780-48C4-AFAC-3464CAF6A675}" srcOrd="1" destOrd="0" presId="urn:microsoft.com/office/officeart/2008/layout/PictureAccentList"/>
    <dgm:cxn modelId="{A87EFB38-0062-4E71-873E-6806406A7DEA}" type="presParOf" srcId="{F95D55D0-5E97-469B-8345-21313A955552}" destId="{BC74BACF-B594-4F0D-8662-767607BEA116}" srcOrd="2" destOrd="0" presId="urn:microsoft.com/office/officeart/2008/layout/PictureAccentList"/>
    <dgm:cxn modelId="{50D8946F-C3DC-4703-9A93-AAC6C4487D82}" type="presParOf" srcId="{BC74BACF-B594-4F0D-8662-767607BEA116}" destId="{C3E21CF9-2771-479F-877B-7BF61A5D34AA}" srcOrd="0" destOrd="0" presId="urn:microsoft.com/office/officeart/2008/layout/PictureAccentList"/>
    <dgm:cxn modelId="{4980E896-010E-4CA5-A06C-9EA2708CF158}" type="presParOf" srcId="{BC74BACF-B594-4F0D-8662-767607BEA116}" destId="{845FB125-0AD5-426C-9474-F2FBA52ADC18}" srcOrd="1" destOrd="0" presId="urn:microsoft.com/office/officeart/2008/layout/PictureAccentList"/>
    <dgm:cxn modelId="{917A2ABE-4010-44A0-B1F9-B1681230E705}" type="presParOf" srcId="{F95D55D0-5E97-469B-8345-21313A955552}" destId="{4845D21F-07DF-4755-9001-C449D29ACEEC}" srcOrd="3" destOrd="0" presId="urn:microsoft.com/office/officeart/2008/layout/PictureAccentList"/>
    <dgm:cxn modelId="{3BCE0B70-1DDF-4C14-8C96-90A84ACFE4A1}" type="presParOf" srcId="{4845D21F-07DF-4755-9001-C449D29ACEEC}" destId="{2070A03B-3D60-4692-9A04-D664F6B2E37A}" srcOrd="0" destOrd="0" presId="urn:microsoft.com/office/officeart/2008/layout/PictureAccentList"/>
    <dgm:cxn modelId="{48CBABA9-4931-4FEC-A7EF-66A0E96D9D2E}" type="presParOf" srcId="{4845D21F-07DF-4755-9001-C449D29ACEEC}" destId="{59C05FF5-1447-4E04-8723-7BA7F9BBC47D}" srcOrd="1" destOrd="0" presId="urn:microsoft.com/office/officeart/2008/layout/PictureAccentList"/>
    <dgm:cxn modelId="{A7CCDBD6-8CA7-45E4-9A91-6C5CA613D14A}" type="presParOf" srcId="{F95D55D0-5E97-469B-8345-21313A955552}" destId="{1ED9BCC8-4CBC-435B-8ABA-B622C11077D5}" srcOrd="4" destOrd="0" presId="urn:microsoft.com/office/officeart/2008/layout/PictureAccentList"/>
    <dgm:cxn modelId="{864C7C8C-A620-444F-9D26-A798180E42A9}" type="presParOf" srcId="{1ED9BCC8-4CBC-435B-8ABA-B622C11077D5}" destId="{5F31AF2C-900B-4A35-8DE9-F66CB28EE95B}" srcOrd="0" destOrd="0" presId="urn:microsoft.com/office/officeart/2008/layout/PictureAccentList"/>
    <dgm:cxn modelId="{2639D190-113F-4CEC-A712-1B5765B5469E}" type="presParOf" srcId="{1ED9BCC8-4CBC-435B-8ABA-B622C11077D5}" destId="{8BB6C954-7F1E-4226-9ED4-942C49933EC3}" srcOrd="1" destOrd="0" presId="urn:microsoft.com/office/officeart/2008/layout/PictureAccentList"/>
    <dgm:cxn modelId="{33B8EBC7-03C9-4B5B-9702-8E4C2327E6C0}" type="presParOf" srcId="{F95D55D0-5E97-469B-8345-21313A955552}" destId="{BB9B0A27-0836-421D-B106-71C2B456F34F}" srcOrd="5" destOrd="0" presId="urn:microsoft.com/office/officeart/2008/layout/PictureAccentList"/>
    <dgm:cxn modelId="{F70ACB60-9E12-4301-A5F0-45C790FA4AFB}" type="presParOf" srcId="{BB9B0A27-0836-421D-B106-71C2B456F34F}" destId="{C86B356B-48C4-4923-A823-FB8EFF033C00}" srcOrd="0" destOrd="0" presId="urn:microsoft.com/office/officeart/2008/layout/PictureAccentList"/>
    <dgm:cxn modelId="{0DE3B692-5B98-486C-91B0-266D7FD40FD2}" type="presParOf" srcId="{BB9B0A27-0836-421D-B106-71C2B456F34F}" destId="{1FEB5271-7910-44C6-8722-DFECF08238B0}" srcOrd="1" destOrd="0" presId="urn:microsoft.com/office/officeart/2008/layout/PictureAccentList"/>
  </dgm:cxnLst>
  <dgm:bg/>
  <dgm:whole>
    <a:ln>
      <a:solidFill>
        <a:schemeClr val="bg1">
          <a:lumMod val="75000"/>
        </a:schemeClr>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algn="ctr">
            <a:buNone/>
          </a:pPr>
          <a:r>
            <a:rPr lang="de-DE" sz="1500" b="1" kern="1200"/>
            <a:t>Vanessa García Lozano</a:t>
          </a:r>
        </a:p>
        <a:p>
          <a:pPr algn="ctr">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a:xfrm rot="10800000">
          <a:off x="345954" y="2557684"/>
          <a:ext cx="1660917" cy="3126058"/>
        </a:xfrm>
        <a:prstGeom prst="round2SameRect">
          <a:avLst>
            <a:gd name="adj1" fmla="val 10500"/>
            <a:gd name="adj2" fmla="val 0"/>
          </a:avLst>
        </a:prstGeom>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a:xfrm rot="10800000">
          <a:off x="2175106" y="2557684"/>
          <a:ext cx="1660917" cy="3126058"/>
        </a:xfrm>
        <a:prstGeom prst="round2SameRect">
          <a:avLst>
            <a:gd name="adj1" fmla="val 10500"/>
            <a:gd name="adj2" fmla="val 0"/>
          </a:avLst>
        </a:prstGeom>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a:xfrm rot="10800000">
          <a:off x="3999973" y="2557684"/>
          <a:ext cx="1660917" cy="3126058"/>
        </a:xfrm>
        <a:prstGeom prst="round2SameRect">
          <a:avLst>
            <a:gd name="adj1" fmla="val 10500"/>
            <a:gd name="adj2" fmla="val 0"/>
          </a:avLst>
        </a:prstGeom>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a:xfrm rot="10800000">
          <a:off x="5826983" y="2557684"/>
          <a:ext cx="1660917" cy="3126058"/>
        </a:xfrm>
        <a:prstGeom prst="round2SameRect">
          <a:avLst>
            <a:gd name="adj1" fmla="val 10500"/>
            <a:gd name="adj2" fmla="val 0"/>
          </a:avLst>
        </a:prstGeom>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a:xfrm rot="10800000">
          <a:off x="7653993" y="2557684"/>
          <a:ext cx="1660917" cy="3126058"/>
        </a:xfrm>
        <a:prstGeom prst="round2SameRect">
          <a:avLst>
            <a:gd name="adj1" fmla="val 10500"/>
            <a:gd name="adj2" fmla="val 0"/>
          </a:avLst>
        </a:prstGeom>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a:xfrm rot="10800000">
          <a:off x="9481002" y="2557684"/>
          <a:ext cx="1660917" cy="3126058"/>
        </a:xfrm>
        <a:prstGeom prst="round2SameRect">
          <a:avLst>
            <a:gd name="adj1" fmla="val 10500"/>
            <a:gd name="adj2" fmla="val 0"/>
          </a:avLst>
        </a:prstGeom>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algn="ctr">
            <a:buNone/>
          </a:pPr>
          <a:r>
            <a:rPr lang="de-DE" sz="1500" b="1" kern="1200"/>
            <a:t>Vanessa García Lozano</a:t>
          </a:r>
        </a:p>
        <a:p>
          <a:pPr algn="ctr">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a:xfrm rot="10800000">
          <a:off x="345954" y="2557684"/>
          <a:ext cx="1660917" cy="3126058"/>
        </a:xfrm>
        <a:prstGeom prst="round2SameRect">
          <a:avLst>
            <a:gd name="adj1" fmla="val 10500"/>
            <a:gd name="adj2" fmla="val 0"/>
          </a:avLst>
        </a:prstGeom>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a:xfrm rot="10800000">
          <a:off x="2175106" y="2557684"/>
          <a:ext cx="1660917" cy="3126058"/>
        </a:xfrm>
        <a:prstGeom prst="round2SameRect">
          <a:avLst>
            <a:gd name="adj1" fmla="val 10500"/>
            <a:gd name="adj2" fmla="val 0"/>
          </a:avLst>
        </a:prstGeom>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a:xfrm rot="10800000">
          <a:off x="3999973" y="2557684"/>
          <a:ext cx="1660917" cy="3126058"/>
        </a:xfrm>
        <a:prstGeom prst="round2SameRect">
          <a:avLst>
            <a:gd name="adj1" fmla="val 10500"/>
            <a:gd name="adj2" fmla="val 0"/>
          </a:avLst>
        </a:prstGeom>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a:xfrm rot="10800000">
          <a:off x="5826983" y="2557684"/>
          <a:ext cx="1660917" cy="3126058"/>
        </a:xfrm>
        <a:prstGeom prst="round2SameRect">
          <a:avLst>
            <a:gd name="adj1" fmla="val 10500"/>
            <a:gd name="adj2" fmla="val 0"/>
          </a:avLst>
        </a:prstGeom>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a:xfrm rot="10800000">
          <a:off x="7653993" y="2557684"/>
          <a:ext cx="1660917" cy="3126058"/>
        </a:xfrm>
        <a:prstGeom prst="round2SameRect">
          <a:avLst>
            <a:gd name="adj1" fmla="val 10500"/>
            <a:gd name="adj2" fmla="val 0"/>
          </a:avLst>
        </a:prstGeom>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a:xfrm rot="10800000">
          <a:off x="9481002" y="2557684"/>
          <a:ext cx="1660917" cy="3126058"/>
        </a:xfrm>
        <a:prstGeom prst="round2SameRect">
          <a:avLst>
            <a:gd name="adj1" fmla="val 10500"/>
            <a:gd name="adj2" fmla="val 0"/>
          </a:avLst>
        </a:prstGeom>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algn="ctr">
            <a:buNone/>
          </a:pPr>
          <a:r>
            <a:rPr lang="de-DE" sz="1500" b="1" kern="1200"/>
            <a:t>Vanessa García Lozano</a:t>
          </a:r>
        </a:p>
        <a:p>
          <a:pPr algn="ctr">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a:xfrm rot="10800000">
          <a:off x="345954" y="2557684"/>
          <a:ext cx="1660917" cy="3126058"/>
        </a:xfrm>
        <a:prstGeom prst="round2SameRect">
          <a:avLst>
            <a:gd name="adj1" fmla="val 10500"/>
            <a:gd name="adj2" fmla="val 0"/>
          </a:avLst>
        </a:prstGeom>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a:xfrm rot="10800000">
          <a:off x="2175106" y="2557684"/>
          <a:ext cx="1660917" cy="3126058"/>
        </a:xfrm>
        <a:prstGeom prst="round2SameRect">
          <a:avLst>
            <a:gd name="adj1" fmla="val 10500"/>
            <a:gd name="adj2" fmla="val 0"/>
          </a:avLst>
        </a:prstGeom>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a:xfrm rot="10800000">
          <a:off x="3999973" y="2557684"/>
          <a:ext cx="1660917" cy="3126058"/>
        </a:xfrm>
        <a:prstGeom prst="round2SameRect">
          <a:avLst>
            <a:gd name="adj1" fmla="val 10500"/>
            <a:gd name="adj2" fmla="val 0"/>
          </a:avLst>
        </a:prstGeom>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a:xfrm rot="10800000">
          <a:off x="5826983" y="2557684"/>
          <a:ext cx="1660917" cy="3126058"/>
        </a:xfrm>
        <a:prstGeom prst="round2SameRect">
          <a:avLst>
            <a:gd name="adj1" fmla="val 10500"/>
            <a:gd name="adj2" fmla="val 0"/>
          </a:avLst>
        </a:prstGeom>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a:xfrm rot="10800000">
          <a:off x="7653993" y="2557684"/>
          <a:ext cx="1660917" cy="3126058"/>
        </a:xfrm>
        <a:prstGeom prst="round2SameRect">
          <a:avLst>
            <a:gd name="adj1" fmla="val 10500"/>
            <a:gd name="adj2" fmla="val 0"/>
          </a:avLst>
        </a:prstGeom>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a:xfrm rot="10800000">
          <a:off x="9481002" y="2557684"/>
          <a:ext cx="1660917" cy="3126058"/>
        </a:xfrm>
        <a:prstGeom prst="round2SameRect">
          <a:avLst>
            <a:gd name="adj1" fmla="val 10500"/>
            <a:gd name="adj2" fmla="val 0"/>
          </a:avLst>
        </a:prstGeom>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FBC0B3D-83FB-4D7F-936E-CE30BB96C0F6}" type="doc">
      <dgm:prSet loTypeId="urn:microsoft.com/office/officeart/2005/8/layout/venn1" loCatId="relationship" qsTypeId="urn:microsoft.com/office/officeart/2005/8/quickstyle/3d9" qsCatId="3D" csTypeId="urn:microsoft.com/office/officeart/2005/8/colors/accent2_2" csCatId="accent2" phldr="1"/>
      <dgm:spPr/>
    </dgm:pt>
    <dgm:pt modelId="{514C6E7E-4756-4A96-8FDB-CE9239D5F81A}" type="pres">
      <dgm:prSet presAssocID="{3FBC0B3D-83FB-4D7F-936E-CE30BB96C0F6}" presName="compositeShape" presStyleCnt="0">
        <dgm:presLayoutVars>
          <dgm:chMax val="7"/>
          <dgm:dir/>
          <dgm:resizeHandles val="exact"/>
        </dgm:presLayoutVars>
      </dgm:prSet>
      <dgm:spPr/>
    </dgm:pt>
  </dgm:ptLst>
  <dgm:cxnLst>
    <dgm:cxn modelId="{FF7A308E-97DD-4E3E-8057-E766F30F234F}" type="presOf" srcId="{3FBC0B3D-83FB-4D7F-936E-CE30BB96C0F6}" destId="{514C6E7E-4756-4A96-8FDB-CE9239D5F81A}" srcOrd="0"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02886B8-506C-4D88-9C54-0BDC7AC800C1}" type="doc">
      <dgm:prSet loTypeId="urn:microsoft.com/office/officeart/2005/8/layout/venn1" loCatId="relationship" qsTypeId="urn:microsoft.com/office/officeart/2005/8/quickstyle/simple1" qsCatId="simple" csTypeId="urn:microsoft.com/office/officeart/2005/8/colors/accent1_2" csCatId="accent1" phldr="1"/>
      <dgm:spPr/>
    </dgm:pt>
    <dgm:pt modelId="{A52E7AFE-25A5-4E9D-94A3-21CF506A6A35}">
      <dgm:prSet phldrT="[Text]"/>
      <dgm:spPr>
        <a:solidFill>
          <a:srgbClr val="00B0F0">
            <a:alpha val="50000"/>
          </a:srgbClr>
        </a:solidFill>
      </dgm:spPr>
      <dgm:t>
        <a:bodyPr/>
        <a:lstStyle/>
        <a:p>
          <a:pPr algn="ctr"/>
          <a:r>
            <a:rPr lang="fr-LU" b="1"/>
            <a:t>Our actions</a:t>
          </a:r>
        </a:p>
      </dgm:t>
    </dgm:pt>
    <dgm:pt modelId="{61CEB93F-97FB-4AD1-8863-5DE6FFB3D23B}" type="parTrans" cxnId="{E5FB1AF3-F6D2-491F-B3A6-BEFDEFDA92A7}">
      <dgm:prSet/>
      <dgm:spPr/>
      <dgm:t>
        <a:bodyPr/>
        <a:lstStyle/>
        <a:p>
          <a:endParaRPr lang="fr-LU" b="1"/>
        </a:p>
      </dgm:t>
    </dgm:pt>
    <dgm:pt modelId="{826FBA98-8BA1-4765-A0A8-6E99B3CD46F7}" type="sibTrans" cxnId="{E5FB1AF3-F6D2-491F-B3A6-BEFDEFDA92A7}">
      <dgm:prSet/>
      <dgm:spPr/>
      <dgm:t>
        <a:bodyPr/>
        <a:lstStyle/>
        <a:p>
          <a:endParaRPr lang="fr-LU" b="1"/>
        </a:p>
      </dgm:t>
    </dgm:pt>
    <dgm:pt modelId="{92AFB54A-F02C-4881-9CD7-D15DAC1549B9}">
      <dgm:prSet phldrT="[Text]"/>
      <dgm:spPr>
        <a:solidFill>
          <a:srgbClr val="FFFF00">
            <a:alpha val="50000"/>
          </a:srgbClr>
        </a:solidFill>
      </dgm:spPr>
      <dgm:t>
        <a:bodyPr/>
        <a:lstStyle/>
        <a:p>
          <a:pPr algn="ctr"/>
          <a:r>
            <a:rPr lang="fr-LU" b="1" err="1"/>
            <a:t>Their</a:t>
          </a:r>
          <a:r>
            <a:rPr lang="fr-LU" b="1"/>
            <a:t> actions</a:t>
          </a:r>
        </a:p>
      </dgm:t>
    </dgm:pt>
    <dgm:pt modelId="{665E7DFA-6778-409D-BDCA-2499F94CE2F6}" type="parTrans" cxnId="{3BEA576B-7A1F-4AB3-AD8C-E64758E3C7C9}">
      <dgm:prSet/>
      <dgm:spPr/>
      <dgm:t>
        <a:bodyPr/>
        <a:lstStyle/>
        <a:p>
          <a:endParaRPr lang="fr-LU" b="1"/>
        </a:p>
      </dgm:t>
    </dgm:pt>
    <dgm:pt modelId="{DFDD8E5E-97CC-4280-9441-CF90DC0DD3FE}" type="sibTrans" cxnId="{3BEA576B-7A1F-4AB3-AD8C-E64758E3C7C9}">
      <dgm:prSet/>
      <dgm:spPr/>
      <dgm:t>
        <a:bodyPr/>
        <a:lstStyle/>
        <a:p>
          <a:endParaRPr lang="fr-LU" b="1"/>
        </a:p>
      </dgm:t>
    </dgm:pt>
    <dgm:pt modelId="{68EFDAAF-03CD-4366-86FE-72829B1993BC}" type="pres">
      <dgm:prSet presAssocID="{802886B8-506C-4D88-9C54-0BDC7AC800C1}" presName="compositeShape" presStyleCnt="0">
        <dgm:presLayoutVars>
          <dgm:chMax val="7"/>
          <dgm:dir/>
          <dgm:resizeHandles val="exact"/>
        </dgm:presLayoutVars>
      </dgm:prSet>
      <dgm:spPr/>
    </dgm:pt>
    <dgm:pt modelId="{40069AAE-302B-4B5B-A341-FF55B430050E}" type="pres">
      <dgm:prSet presAssocID="{A52E7AFE-25A5-4E9D-94A3-21CF506A6A35}" presName="circ1" presStyleLbl="vennNode1" presStyleIdx="0" presStyleCnt="2" custLinFactNeighborX="-3534" custLinFactNeighborY="34266"/>
      <dgm:spPr/>
    </dgm:pt>
    <dgm:pt modelId="{C990B933-2EDC-4F00-BA97-C005F5A9E29C}" type="pres">
      <dgm:prSet presAssocID="{A52E7AFE-25A5-4E9D-94A3-21CF506A6A35}" presName="circ1Tx" presStyleLbl="revTx" presStyleIdx="0" presStyleCnt="0">
        <dgm:presLayoutVars>
          <dgm:chMax val="0"/>
          <dgm:chPref val="0"/>
          <dgm:bulletEnabled val="1"/>
        </dgm:presLayoutVars>
      </dgm:prSet>
      <dgm:spPr/>
    </dgm:pt>
    <dgm:pt modelId="{6D6978D9-6953-4D83-8ECA-B21823E215CF}" type="pres">
      <dgm:prSet presAssocID="{92AFB54A-F02C-4881-9CD7-D15DAC1549B9}" presName="circ2" presStyleLbl="vennNode1" presStyleIdx="1" presStyleCnt="2" custLinFactNeighborX="-75606" custLinFactNeighborY="-35166"/>
      <dgm:spPr/>
    </dgm:pt>
    <dgm:pt modelId="{0E05B8EF-987E-4CE2-B523-F1F53C1BD336}" type="pres">
      <dgm:prSet presAssocID="{92AFB54A-F02C-4881-9CD7-D15DAC1549B9}" presName="circ2Tx" presStyleLbl="revTx" presStyleIdx="0" presStyleCnt="0">
        <dgm:presLayoutVars>
          <dgm:chMax val="0"/>
          <dgm:chPref val="0"/>
          <dgm:bulletEnabled val="1"/>
        </dgm:presLayoutVars>
      </dgm:prSet>
      <dgm:spPr/>
    </dgm:pt>
  </dgm:ptLst>
  <dgm:cxnLst>
    <dgm:cxn modelId="{CEC3E32C-D700-4509-8F56-1257E2F42813}" type="presOf" srcId="{92AFB54A-F02C-4881-9CD7-D15DAC1549B9}" destId="{6D6978D9-6953-4D83-8ECA-B21823E215CF}" srcOrd="0" destOrd="0" presId="urn:microsoft.com/office/officeart/2005/8/layout/venn1"/>
    <dgm:cxn modelId="{D78FD437-6523-4501-B6DB-63628B7D7A7D}" type="presOf" srcId="{A52E7AFE-25A5-4E9D-94A3-21CF506A6A35}" destId="{C990B933-2EDC-4F00-BA97-C005F5A9E29C}" srcOrd="1" destOrd="0" presId="urn:microsoft.com/office/officeart/2005/8/layout/venn1"/>
    <dgm:cxn modelId="{FB527A40-5B2D-4942-8640-DE1D489D51B9}" type="presOf" srcId="{92AFB54A-F02C-4881-9CD7-D15DAC1549B9}" destId="{0E05B8EF-987E-4CE2-B523-F1F53C1BD336}" srcOrd="1" destOrd="0" presId="urn:microsoft.com/office/officeart/2005/8/layout/venn1"/>
    <dgm:cxn modelId="{3BEA576B-7A1F-4AB3-AD8C-E64758E3C7C9}" srcId="{802886B8-506C-4D88-9C54-0BDC7AC800C1}" destId="{92AFB54A-F02C-4881-9CD7-D15DAC1549B9}" srcOrd="1" destOrd="0" parTransId="{665E7DFA-6778-409D-BDCA-2499F94CE2F6}" sibTransId="{DFDD8E5E-97CC-4280-9441-CF90DC0DD3FE}"/>
    <dgm:cxn modelId="{CD114596-2549-4BD5-B5AB-9D3E70632C3C}" type="presOf" srcId="{802886B8-506C-4D88-9C54-0BDC7AC800C1}" destId="{68EFDAAF-03CD-4366-86FE-72829B1993BC}" srcOrd="0" destOrd="0" presId="urn:microsoft.com/office/officeart/2005/8/layout/venn1"/>
    <dgm:cxn modelId="{470268BF-1AA4-46EC-A26D-2DB580C79C2C}" type="presOf" srcId="{A52E7AFE-25A5-4E9D-94A3-21CF506A6A35}" destId="{40069AAE-302B-4B5B-A341-FF55B430050E}" srcOrd="0" destOrd="0" presId="urn:microsoft.com/office/officeart/2005/8/layout/venn1"/>
    <dgm:cxn modelId="{E5FB1AF3-F6D2-491F-B3A6-BEFDEFDA92A7}" srcId="{802886B8-506C-4D88-9C54-0BDC7AC800C1}" destId="{A52E7AFE-25A5-4E9D-94A3-21CF506A6A35}" srcOrd="0" destOrd="0" parTransId="{61CEB93F-97FB-4AD1-8863-5DE6FFB3D23B}" sibTransId="{826FBA98-8BA1-4765-A0A8-6E99B3CD46F7}"/>
    <dgm:cxn modelId="{A4ECD056-D460-429D-BC3F-E22CABF3A37B}" type="presParOf" srcId="{68EFDAAF-03CD-4366-86FE-72829B1993BC}" destId="{40069AAE-302B-4B5B-A341-FF55B430050E}" srcOrd="0" destOrd="0" presId="urn:microsoft.com/office/officeart/2005/8/layout/venn1"/>
    <dgm:cxn modelId="{A580FAC7-EBAE-47EA-BA8B-FCC003840541}" type="presParOf" srcId="{68EFDAAF-03CD-4366-86FE-72829B1993BC}" destId="{C990B933-2EDC-4F00-BA97-C005F5A9E29C}" srcOrd="1" destOrd="0" presId="urn:microsoft.com/office/officeart/2005/8/layout/venn1"/>
    <dgm:cxn modelId="{422F884D-53B8-46B7-95CB-05BDA194B8DB}" type="presParOf" srcId="{68EFDAAF-03CD-4366-86FE-72829B1993BC}" destId="{6D6978D9-6953-4D83-8ECA-B21823E215CF}" srcOrd="2" destOrd="0" presId="urn:microsoft.com/office/officeart/2005/8/layout/venn1"/>
    <dgm:cxn modelId="{FE08EF6C-0535-4517-B653-5506D9768143}" type="presParOf" srcId="{68EFDAAF-03CD-4366-86FE-72829B1993BC}" destId="{0E05B8EF-987E-4CE2-B523-F1F53C1BD336}" srcOrd="3"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4C3C234-472D-4185-BCA9-5F72C243EF1B}" type="doc">
      <dgm:prSet loTypeId="urn:microsoft.com/office/officeart/2005/8/layout/cycle1" loCatId="cycle" qsTypeId="urn:microsoft.com/office/officeart/2005/8/quickstyle/simple1" qsCatId="simple" csTypeId="urn:microsoft.com/office/officeart/2005/8/colors/accent2_1" csCatId="accent2" phldr="1"/>
      <dgm:spPr/>
      <dgm:t>
        <a:bodyPr/>
        <a:lstStyle/>
        <a:p>
          <a:endParaRPr lang="fr-LU"/>
        </a:p>
      </dgm:t>
    </dgm:pt>
    <dgm:pt modelId="{4D0E7FA3-9216-4FCB-A8E0-44A041BFDA08}">
      <dgm:prSet phldrT="[Text]" custT="1"/>
      <dgm:spPr/>
      <dgm:t>
        <a:bodyPr/>
        <a:lstStyle/>
        <a:p>
          <a:r>
            <a:rPr lang="fr-LU" sz="900" b="1" dirty="0" err="1"/>
            <a:t>Decisions</a:t>
          </a:r>
          <a:endParaRPr lang="fr-LU" sz="900" b="1" dirty="0"/>
        </a:p>
      </dgm:t>
    </dgm:pt>
    <dgm:pt modelId="{BE945D4E-E3CA-42A6-8150-B47BA257AE3B}" type="parTrans" cxnId="{AD570097-FD9E-48F0-A1A0-523716A698E0}">
      <dgm:prSet/>
      <dgm:spPr/>
      <dgm:t>
        <a:bodyPr/>
        <a:lstStyle/>
        <a:p>
          <a:endParaRPr lang="fr-LU" sz="1200" b="1"/>
        </a:p>
      </dgm:t>
    </dgm:pt>
    <dgm:pt modelId="{ECF67E69-B52C-4BFE-BDEA-C246E843FC1D}" type="sibTrans" cxnId="{AD570097-FD9E-48F0-A1A0-523716A698E0}">
      <dgm:prSet/>
      <dgm:spPr/>
      <dgm:t>
        <a:bodyPr/>
        <a:lstStyle/>
        <a:p>
          <a:endParaRPr lang="fr-LU" sz="1200" b="1"/>
        </a:p>
      </dgm:t>
    </dgm:pt>
    <dgm:pt modelId="{82C1D521-D49D-45CA-826F-C1623A2FA572}">
      <dgm:prSet phldrT="[Text]" custT="1"/>
      <dgm:spPr/>
      <dgm:t>
        <a:bodyPr/>
        <a:lstStyle/>
        <a:p>
          <a:r>
            <a:rPr lang="fr-LU" sz="900" b="1" dirty="0"/>
            <a:t>Missions</a:t>
          </a:r>
        </a:p>
      </dgm:t>
    </dgm:pt>
    <dgm:pt modelId="{6564A406-3F28-4076-9DFB-1A940FD15420}" type="parTrans" cxnId="{2F9CA948-90B6-40FA-97C5-D5A2C08DBD09}">
      <dgm:prSet/>
      <dgm:spPr/>
      <dgm:t>
        <a:bodyPr/>
        <a:lstStyle/>
        <a:p>
          <a:endParaRPr lang="fr-LU" sz="1200" b="1"/>
        </a:p>
      </dgm:t>
    </dgm:pt>
    <dgm:pt modelId="{CE3E5FBA-C66F-4F0F-AC8D-4882809E07EE}" type="sibTrans" cxnId="{2F9CA948-90B6-40FA-97C5-D5A2C08DBD09}">
      <dgm:prSet/>
      <dgm:spPr/>
      <dgm:t>
        <a:bodyPr/>
        <a:lstStyle/>
        <a:p>
          <a:endParaRPr lang="fr-LU" sz="1200" b="1"/>
        </a:p>
      </dgm:t>
    </dgm:pt>
    <dgm:pt modelId="{6DFA223C-F6B3-42EE-A2EE-DFCE6F583CB4}">
      <dgm:prSet phldrT="[Text]" custT="1"/>
      <dgm:spPr/>
      <dgm:t>
        <a:bodyPr/>
        <a:lstStyle/>
        <a:p>
          <a:r>
            <a:rPr lang="fr-LU" sz="800" b="1" dirty="0"/>
            <a:t>Operations</a:t>
          </a:r>
          <a:endParaRPr lang="fr-LU" sz="900" b="1" dirty="0"/>
        </a:p>
      </dgm:t>
    </dgm:pt>
    <dgm:pt modelId="{AF9B6A79-7BB6-4727-85B0-E3265D82C09D}" type="parTrans" cxnId="{FD3D03BE-DA7E-4F70-AA82-63B2A3B09FF0}">
      <dgm:prSet/>
      <dgm:spPr/>
      <dgm:t>
        <a:bodyPr/>
        <a:lstStyle/>
        <a:p>
          <a:endParaRPr lang="fr-LU" sz="1200" b="1"/>
        </a:p>
      </dgm:t>
    </dgm:pt>
    <dgm:pt modelId="{4194FC6C-0D53-4D6A-BE39-5003A297B5C2}" type="sibTrans" cxnId="{FD3D03BE-DA7E-4F70-AA82-63B2A3B09FF0}">
      <dgm:prSet/>
      <dgm:spPr/>
      <dgm:t>
        <a:bodyPr/>
        <a:lstStyle/>
        <a:p>
          <a:endParaRPr lang="fr-LU" sz="1200" b="1"/>
        </a:p>
      </dgm:t>
    </dgm:pt>
    <dgm:pt modelId="{A9903FDC-B34D-4EDB-BAA2-F1B3F6DEFAAD}">
      <dgm:prSet phldrT="[Text]" custT="1"/>
      <dgm:spPr/>
      <dgm:t>
        <a:bodyPr/>
        <a:lstStyle/>
        <a:p>
          <a:r>
            <a:rPr lang="fr-LU" sz="900" b="1"/>
            <a:t>Feedback</a:t>
          </a:r>
        </a:p>
      </dgm:t>
    </dgm:pt>
    <dgm:pt modelId="{6EBFB122-787F-4CEE-BF15-7FEDFDE66CED}" type="parTrans" cxnId="{7C647C83-908B-4A3B-907C-3EE47928637D}">
      <dgm:prSet/>
      <dgm:spPr/>
      <dgm:t>
        <a:bodyPr/>
        <a:lstStyle/>
        <a:p>
          <a:endParaRPr lang="fr-LU" sz="1200" b="1"/>
        </a:p>
      </dgm:t>
    </dgm:pt>
    <dgm:pt modelId="{6A3FD6CA-6404-4E11-8842-B310245AC51E}" type="sibTrans" cxnId="{7C647C83-908B-4A3B-907C-3EE47928637D}">
      <dgm:prSet/>
      <dgm:spPr/>
      <dgm:t>
        <a:bodyPr/>
        <a:lstStyle/>
        <a:p>
          <a:endParaRPr lang="fr-LU" sz="1200" b="1"/>
        </a:p>
      </dgm:t>
    </dgm:pt>
    <dgm:pt modelId="{8EB62651-FCC2-4104-B850-071DD6F84123}">
      <dgm:prSet phldrT="[Text]" custT="1"/>
      <dgm:spPr/>
      <dgm:t>
        <a:bodyPr/>
        <a:lstStyle/>
        <a:p>
          <a:r>
            <a:rPr lang="fr-LU" sz="900" b="1" err="1"/>
            <a:t>Strategy</a:t>
          </a:r>
          <a:endParaRPr lang="fr-LU" sz="900" b="1"/>
        </a:p>
      </dgm:t>
    </dgm:pt>
    <dgm:pt modelId="{35CD2FD5-3B5D-49BD-9695-7117598A23B5}" type="parTrans" cxnId="{AD081CFC-BEDA-4D24-989A-5BD0359EB654}">
      <dgm:prSet/>
      <dgm:spPr/>
      <dgm:t>
        <a:bodyPr/>
        <a:lstStyle/>
        <a:p>
          <a:endParaRPr lang="fr-LU" sz="1200" b="1"/>
        </a:p>
      </dgm:t>
    </dgm:pt>
    <dgm:pt modelId="{F31BC09E-CD09-462B-A83E-70B26B981732}" type="sibTrans" cxnId="{AD081CFC-BEDA-4D24-989A-5BD0359EB654}">
      <dgm:prSet/>
      <dgm:spPr/>
      <dgm:t>
        <a:bodyPr/>
        <a:lstStyle/>
        <a:p>
          <a:endParaRPr lang="fr-LU" sz="1200" b="1"/>
        </a:p>
      </dgm:t>
    </dgm:pt>
    <dgm:pt modelId="{29D0488C-6BEF-4070-8606-C926A22F1981}" type="pres">
      <dgm:prSet presAssocID="{04C3C234-472D-4185-BCA9-5F72C243EF1B}" presName="cycle" presStyleCnt="0">
        <dgm:presLayoutVars>
          <dgm:dir val="rev"/>
          <dgm:resizeHandles val="exact"/>
        </dgm:presLayoutVars>
      </dgm:prSet>
      <dgm:spPr/>
    </dgm:pt>
    <dgm:pt modelId="{25C029C3-F1BD-4606-A6F1-6515698F033F}" type="pres">
      <dgm:prSet presAssocID="{4D0E7FA3-9216-4FCB-A8E0-44A041BFDA08}" presName="dummy" presStyleCnt="0"/>
      <dgm:spPr/>
    </dgm:pt>
    <dgm:pt modelId="{70C82A34-87EF-4C30-9FC1-19B5ACE2FB23}" type="pres">
      <dgm:prSet presAssocID="{4D0E7FA3-9216-4FCB-A8E0-44A041BFDA08}" presName="node" presStyleLbl="revTx" presStyleIdx="0" presStyleCnt="5">
        <dgm:presLayoutVars>
          <dgm:bulletEnabled val="1"/>
        </dgm:presLayoutVars>
      </dgm:prSet>
      <dgm:spPr/>
    </dgm:pt>
    <dgm:pt modelId="{F8E6A1AE-5184-4DE9-AAE4-EF09422397B1}" type="pres">
      <dgm:prSet presAssocID="{ECF67E69-B52C-4BFE-BDEA-C246E843FC1D}" presName="sibTrans" presStyleLbl="node1" presStyleIdx="0" presStyleCnt="5"/>
      <dgm:spPr/>
    </dgm:pt>
    <dgm:pt modelId="{004D12BF-255F-4E24-9986-E09AA6C44443}" type="pres">
      <dgm:prSet presAssocID="{82C1D521-D49D-45CA-826F-C1623A2FA572}" presName="dummy" presStyleCnt="0"/>
      <dgm:spPr/>
    </dgm:pt>
    <dgm:pt modelId="{A744AAA0-5358-4C25-9F2F-251AE30A2FB0}" type="pres">
      <dgm:prSet presAssocID="{82C1D521-D49D-45CA-826F-C1623A2FA572}" presName="node" presStyleLbl="revTx" presStyleIdx="1" presStyleCnt="5">
        <dgm:presLayoutVars>
          <dgm:bulletEnabled val="1"/>
        </dgm:presLayoutVars>
      </dgm:prSet>
      <dgm:spPr/>
    </dgm:pt>
    <dgm:pt modelId="{AAFA74F6-A4F6-4A30-BDAD-772B17B979C1}" type="pres">
      <dgm:prSet presAssocID="{CE3E5FBA-C66F-4F0F-AC8D-4882809E07EE}" presName="sibTrans" presStyleLbl="node1" presStyleIdx="1" presStyleCnt="5"/>
      <dgm:spPr/>
    </dgm:pt>
    <dgm:pt modelId="{44C755FE-DAA8-4A4B-B5ED-9F6CB0ED8695}" type="pres">
      <dgm:prSet presAssocID="{6DFA223C-F6B3-42EE-A2EE-DFCE6F583CB4}" presName="dummy" presStyleCnt="0"/>
      <dgm:spPr/>
    </dgm:pt>
    <dgm:pt modelId="{00347E55-FC11-44F4-9B44-C12A1D354235}" type="pres">
      <dgm:prSet presAssocID="{6DFA223C-F6B3-42EE-A2EE-DFCE6F583CB4}" presName="node" presStyleLbl="revTx" presStyleIdx="2" presStyleCnt="5">
        <dgm:presLayoutVars>
          <dgm:bulletEnabled val="1"/>
        </dgm:presLayoutVars>
      </dgm:prSet>
      <dgm:spPr/>
    </dgm:pt>
    <dgm:pt modelId="{C2D140C6-2A4D-49C8-B9F1-42A23868DC20}" type="pres">
      <dgm:prSet presAssocID="{4194FC6C-0D53-4D6A-BE39-5003A297B5C2}" presName="sibTrans" presStyleLbl="node1" presStyleIdx="2" presStyleCnt="5"/>
      <dgm:spPr/>
    </dgm:pt>
    <dgm:pt modelId="{2A1C3F90-C346-4BD0-92F2-02BEB126A017}" type="pres">
      <dgm:prSet presAssocID="{A9903FDC-B34D-4EDB-BAA2-F1B3F6DEFAAD}" presName="dummy" presStyleCnt="0"/>
      <dgm:spPr/>
    </dgm:pt>
    <dgm:pt modelId="{7610106B-98C0-4755-B6AA-87E17EAC0E0F}" type="pres">
      <dgm:prSet presAssocID="{A9903FDC-B34D-4EDB-BAA2-F1B3F6DEFAAD}" presName="node" presStyleLbl="revTx" presStyleIdx="3" presStyleCnt="5">
        <dgm:presLayoutVars>
          <dgm:bulletEnabled val="1"/>
        </dgm:presLayoutVars>
      </dgm:prSet>
      <dgm:spPr/>
    </dgm:pt>
    <dgm:pt modelId="{F2F1F96A-38AE-4FEA-B640-226991734723}" type="pres">
      <dgm:prSet presAssocID="{6A3FD6CA-6404-4E11-8842-B310245AC51E}" presName="sibTrans" presStyleLbl="node1" presStyleIdx="3" presStyleCnt="5"/>
      <dgm:spPr/>
    </dgm:pt>
    <dgm:pt modelId="{F15473A7-2AAE-47F1-93B2-E10799D6A81D}" type="pres">
      <dgm:prSet presAssocID="{8EB62651-FCC2-4104-B850-071DD6F84123}" presName="dummy" presStyleCnt="0"/>
      <dgm:spPr/>
    </dgm:pt>
    <dgm:pt modelId="{5DB0754D-50B0-43E6-95C0-0CF3C99967F6}" type="pres">
      <dgm:prSet presAssocID="{8EB62651-FCC2-4104-B850-071DD6F84123}" presName="node" presStyleLbl="revTx" presStyleIdx="4" presStyleCnt="5">
        <dgm:presLayoutVars>
          <dgm:bulletEnabled val="1"/>
        </dgm:presLayoutVars>
      </dgm:prSet>
      <dgm:spPr/>
    </dgm:pt>
    <dgm:pt modelId="{45EC16D3-6D45-4B48-9665-5BA297BF4E22}" type="pres">
      <dgm:prSet presAssocID="{F31BC09E-CD09-462B-A83E-70B26B981732}" presName="sibTrans" presStyleLbl="node1" presStyleIdx="4" presStyleCnt="5"/>
      <dgm:spPr/>
    </dgm:pt>
  </dgm:ptLst>
  <dgm:cxnLst>
    <dgm:cxn modelId="{4486F325-D808-4F32-A683-A66BEA554FE1}" type="presOf" srcId="{6DFA223C-F6B3-42EE-A2EE-DFCE6F583CB4}" destId="{00347E55-FC11-44F4-9B44-C12A1D354235}" srcOrd="0" destOrd="0" presId="urn:microsoft.com/office/officeart/2005/8/layout/cycle1"/>
    <dgm:cxn modelId="{2F9CA948-90B6-40FA-97C5-D5A2C08DBD09}" srcId="{04C3C234-472D-4185-BCA9-5F72C243EF1B}" destId="{82C1D521-D49D-45CA-826F-C1623A2FA572}" srcOrd="1" destOrd="0" parTransId="{6564A406-3F28-4076-9DFB-1A940FD15420}" sibTransId="{CE3E5FBA-C66F-4F0F-AC8D-4882809E07EE}"/>
    <dgm:cxn modelId="{A6FFE07D-1E3C-49A7-8B0A-461CFBA20D30}" type="presOf" srcId="{4D0E7FA3-9216-4FCB-A8E0-44A041BFDA08}" destId="{70C82A34-87EF-4C30-9FC1-19B5ACE2FB23}" srcOrd="0" destOrd="0" presId="urn:microsoft.com/office/officeart/2005/8/layout/cycle1"/>
    <dgm:cxn modelId="{03E4E17D-1139-44F3-B621-6E6B89479771}" type="presOf" srcId="{F31BC09E-CD09-462B-A83E-70B26B981732}" destId="{45EC16D3-6D45-4B48-9665-5BA297BF4E22}" srcOrd="0" destOrd="0" presId="urn:microsoft.com/office/officeart/2005/8/layout/cycle1"/>
    <dgm:cxn modelId="{662CED81-B5D9-4857-BBA7-E78538F96027}" type="presOf" srcId="{82C1D521-D49D-45CA-826F-C1623A2FA572}" destId="{A744AAA0-5358-4C25-9F2F-251AE30A2FB0}" srcOrd="0" destOrd="0" presId="urn:microsoft.com/office/officeart/2005/8/layout/cycle1"/>
    <dgm:cxn modelId="{7C647C83-908B-4A3B-907C-3EE47928637D}" srcId="{04C3C234-472D-4185-BCA9-5F72C243EF1B}" destId="{A9903FDC-B34D-4EDB-BAA2-F1B3F6DEFAAD}" srcOrd="3" destOrd="0" parTransId="{6EBFB122-787F-4CEE-BF15-7FEDFDE66CED}" sibTransId="{6A3FD6CA-6404-4E11-8842-B310245AC51E}"/>
    <dgm:cxn modelId="{F650E889-60D3-4004-B773-9BD32094EBEC}" type="presOf" srcId="{6A3FD6CA-6404-4E11-8842-B310245AC51E}" destId="{F2F1F96A-38AE-4FEA-B640-226991734723}" srcOrd="0" destOrd="0" presId="urn:microsoft.com/office/officeart/2005/8/layout/cycle1"/>
    <dgm:cxn modelId="{AD570097-FD9E-48F0-A1A0-523716A698E0}" srcId="{04C3C234-472D-4185-BCA9-5F72C243EF1B}" destId="{4D0E7FA3-9216-4FCB-A8E0-44A041BFDA08}" srcOrd="0" destOrd="0" parTransId="{BE945D4E-E3CA-42A6-8150-B47BA257AE3B}" sibTransId="{ECF67E69-B52C-4BFE-BDEA-C246E843FC1D}"/>
    <dgm:cxn modelId="{449257B7-829E-45F4-9025-4C37D8F8340D}" type="presOf" srcId="{8EB62651-FCC2-4104-B850-071DD6F84123}" destId="{5DB0754D-50B0-43E6-95C0-0CF3C99967F6}" srcOrd="0" destOrd="0" presId="urn:microsoft.com/office/officeart/2005/8/layout/cycle1"/>
    <dgm:cxn modelId="{FD3D03BE-DA7E-4F70-AA82-63B2A3B09FF0}" srcId="{04C3C234-472D-4185-BCA9-5F72C243EF1B}" destId="{6DFA223C-F6B3-42EE-A2EE-DFCE6F583CB4}" srcOrd="2" destOrd="0" parTransId="{AF9B6A79-7BB6-4727-85B0-E3265D82C09D}" sibTransId="{4194FC6C-0D53-4D6A-BE39-5003A297B5C2}"/>
    <dgm:cxn modelId="{1B2004C7-99CD-4FB8-9CC2-ED6730CAE3F8}" type="presOf" srcId="{04C3C234-472D-4185-BCA9-5F72C243EF1B}" destId="{29D0488C-6BEF-4070-8606-C926A22F1981}" srcOrd="0" destOrd="0" presId="urn:microsoft.com/office/officeart/2005/8/layout/cycle1"/>
    <dgm:cxn modelId="{ECD0D1F3-3152-4B22-81F0-1215D403DBF8}" type="presOf" srcId="{CE3E5FBA-C66F-4F0F-AC8D-4882809E07EE}" destId="{AAFA74F6-A4F6-4A30-BDAD-772B17B979C1}" srcOrd="0" destOrd="0" presId="urn:microsoft.com/office/officeart/2005/8/layout/cycle1"/>
    <dgm:cxn modelId="{259F09F8-2636-44CA-8C16-0D4367A007AF}" type="presOf" srcId="{ECF67E69-B52C-4BFE-BDEA-C246E843FC1D}" destId="{F8E6A1AE-5184-4DE9-AAE4-EF09422397B1}" srcOrd="0" destOrd="0" presId="urn:microsoft.com/office/officeart/2005/8/layout/cycle1"/>
    <dgm:cxn modelId="{A359D8FB-E9C1-4992-AC53-D55EBBCD40F1}" type="presOf" srcId="{A9903FDC-B34D-4EDB-BAA2-F1B3F6DEFAAD}" destId="{7610106B-98C0-4755-B6AA-87E17EAC0E0F}" srcOrd="0" destOrd="0" presId="urn:microsoft.com/office/officeart/2005/8/layout/cycle1"/>
    <dgm:cxn modelId="{AD081CFC-BEDA-4D24-989A-5BD0359EB654}" srcId="{04C3C234-472D-4185-BCA9-5F72C243EF1B}" destId="{8EB62651-FCC2-4104-B850-071DD6F84123}" srcOrd="4" destOrd="0" parTransId="{35CD2FD5-3B5D-49BD-9695-7117598A23B5}" sibTransId="{F31BC09E-CD09-462B-A83E-70B26B981732}"/>
    <dgm:cxn modelId="{70DDA3FD-ED21-4E6C-A270-7549EE518520}" type="presOf" srcId="{4194FC6C-0D53-4D6A-BE39-5003A297B5C2}" destId="{C2D140C6-2A4D-49C8-B9F1-42A23868DC20}" srcOrd="0" destOrd="0" presId="urn:microsoft.com/office/officeart/2005/8/layout/cycle1"/>
    <dgm:cxn modelId="{19EE30B1-4BA1-4354-9DDE-311B1CD81F3A}" type="presParOf" srcId="{29D0488C-6BEF-4070-8606-C926A22F1981}" destId="{25C029C3-F1BD-4606-A6F1-6515698F033F}" srcOrd="0" destOrd="0" presId="urn:microsoft.com/office/officeart/2005/8/layout/cycle1"/>
    <dgm:cxn modelId="{EE541E73-3275-4552-8951-49138242123A}" type="presParOf" srcId="{29D0488C-6BEF-4070-8606-C926A22F1981}" destId="{70C82A34-87EF-4C30-9FC1-19B5ACE2FB23}" srcOrd="1" destOrd="0" presId="urn:microsoft.com/office/officeart/2005/8/layout/cycle1"/>
    <dgm:cxn modelId="{68D7BC74-141B-41BD-B9A1-1A19075B3F88}" type="presParOf" srcId="{29D0488C-6BEF-4070-8606-C926A22F1981}" destId="{F8E6A1AE-5184-4DE9-AAE4-EF09422397B1}" srcOrd="2" destOrd="0" presId="urn:microsoft.com/office/officeart/2005/8/layout/cycle1"/>
    <dgm:cxn modelId="{6E381FC7-D4A8-4DB9-A351-2DC69232FA00}" type="presParOf" srcId="{29D0488C-6BEF-4070-8606-C926A22F1981}" destId="{004D12BF-255F-4E24-9986-E09AA6C44443}" srcOrd="3" destOrd="0" presId="urn:microsoft.com/office/officeart/2005/8/layout/cycle1"/>
    <dgm:cxn modelId="{B7639FA3-7D8E-43ED-A643-F09387059D34}" type="presParOf" srcId="{29D0488C-6BEF-4070-8606-C926A22F1981}" destId="{A744AAA0-5358-4C25-9F2F-251AE30A2FB0}" srcOrd="4" destOrd="0" presId="urn:microsoft.com/office/officeart/2005/8/layout/cycle1"/>
    <dgm:cxn modelId="{C4C8ABE5-73F7-4350-9DA7-2DCA02F3C2F4}" type="presParOf" srcId="{29D0488C-6BEF-4070-8606-C926A22F1981}" destId="{AAFA74F6-A4F6-4A30-BDAD-772B17B979C1}" srcOrd="5" destOrd="0" presId="urn:microsoft.com/office/officeart/2005/8/layout/cycle1"/>
    <dgm:cxn modelId="{FAFECAA8-A8AD-473A-998C-2494054AB685}" type="presParOf" srcId="{29D0488C-6BEF-4070-8606-C926A22F1981}" destId="{44C755FE-DAA8-4A4B-B5ED-9F6CB0ED8695}" srcOrd="6" destOrd="0" presId="urn:microsoft.com/office/officeart/2005/8/layout/cycle1"/>
    <dgm:cxn modelId="{58F1E688-0DC4-4E66-B44B-D7E14807C9E8}" type="presParOf" srcId="{29D0488C-6BEF-4070-8606-C926A22F1981}" destId="{00347E55-FC11-44F4-9B44-C12A1D354235}" srcOrd="7" destOrd="0" presId="urn:microsoft.com/office/officeart/2005/8/layout/cycle1"/>
    <dgm:cxn modelId="{CA2939C8-D1D8-4C1F-80A3-3FC096315266}" type="presParOf" srcId="{29D0488C-6BEF-4070-8606-C926A22F1981}" destId="{C2D140C6-2A4D-49C8-B9F1-42A23868DC20}" srcOrd="8" destOrd="0" presId="urn:microsoft.com/office/officeart/2005/8/layout/cycle1"/>
    <dgm:cxn modelId="{D3182FF8-C571-429C-B91D-8F586FC8EC0A}" type="presParOf" srcId="{29D0488C-6BEF-4070-8606-C926A22F1981}" destId="{2A1C3F90-C346-4BD0-92F2-02BEB126A017}" srcOrd="9" destOrd="0" presId="urn:microsoft.com/office/officeart/2005/8/layout/cycle1"/>
    <dgm:cxn modelId="{4F224605-9454-4E48-B964-FA6A7B852D7C}" type="presParOf" srcId="{29D0488C-6BEF-4070-8606-C926A22F1981}" destId="{7610106B-98C0-4755-B6AA-87E17EAC0E0F}" srcOrd="10" destOrd="0" presId="urn:microsoft.com/office/officeart/2005/8/layout/cycle1"/>
    <dgm:cxn modelId="{758EFF85-801E-4871-BB1A-008A639A9092}" type="presParOf" srcId="{29D0488C-6BEF-4070-8606-C926A22F1981}" destId="{F2F1F96A-38AE-4FEA-B640-226991734723}" srcOrd="11" destOrd="0" presId="urn:microsoft.com/office/officeart/2005/8/layout/cycle1"/>
    <dgm:cxn modelId="{8515B5D0-8B8E-46AB-99FF-8EC73452DE81}" type="presParOf" srcId="{29D0488C-6BEF-4070-8606-C926A22F1981}" destId="{F15473A7-2AAE-47F1-93B2-E10799D6A81D}" srcOrd="12" destOrd="0" presId="urn:microsoft.com/office/officeart/2005/8/layout/cycle1"/>
    <dgm:cxn modelId="{0D9E58FC-FA67-4C8B-BC7E-83E139E4FB4C}" type="presParOf" srcId="{29D0488C-6BEF-4070-8606-C926A22F1981}" destId="{5DB0754D-50B0-43E6-95C0-0CF3C99967F6}" srcOrd="13" destOrd="0" presId="urn:microsoft.com/office/officeart/2005/8/layout/cycle1"/>
    <dgm:cxn modelId="{32A410E9-452E-487D-ADC1-7DE4841D8665}" type="presParOf" srcId="{29D0488C-6BEF-4070-8606-C926A22F1981}" destId="{45EC16D3-6D45-4B48-9665-5BA297BF4E22}" srcOrd="14"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4C3C234-472D-4185-BCA9-5F72C243EF1B}" type="doc">
      <dgm:prSet loTypeId="urn:microsoft.com/office/officeart/2005/8/layout/cycle1" loCatId="cycle" qsTypeId="urn:microsoft.com/office/officeart/2005/8/quickstyle/simple1" qsCatId="simple" csTypeId="urn:microsoft.com/office/officeart/2005/8/colors/accent1_1" csCatId="accent1" phldr="1"/>
      <dgm:spPr/>
      <dgm:t>
        <a:bodyPr/>
        <a:lstStyle/>
        <a:p>
          <a:endParaRPr lang="fr-LU"/>
        </a:p>
      </dgm:t>
    </dgm:pt>
    <dgm:pt modelId="{4D0E7FA3-9216-4FCB-A8E0-44A041BFDA08}">
      <dgm:prSet phldrT="[Text]" custT="1"/>
      <dgm:spPr/>
      <dgm:t>
        <a:bodyPr/>
        <a:lstStyle/>
        <a:p>
          <a:r>
            <a:rPr lang="fr-LU" sz="1100" b="1" dirty="0"/>
            <a:t>Ressources</a:t>
          </a:r>
          <a:endParaRPr lang="fr-LU" sz="1200" b="1" dirty="0"/>
        </a:p>
      </dgm:t>
    </dgm:pt>
    <dgm:pt modelId="{BE945D4E-E3CA-42A6-8150-B47BA257AE3B}" type="parTrans" cxnId="{AD570097-FD9E-48F0-A1A0-523716A698E0}">
      <dgm:prSet/>
      <dgm:spPr/>
      <dgm:t>
        <a:bodyPr/>
        <a:lstStyle/>
        <a:p>
          <a:endParaRPr lang="fr-LU" sz="2000" b="1"/>
        </a:p>
      </dgm:t>
    </dgm:pt>
    <dgm:pt modelId="{ECF67E69-B52C-4BFE-BDEA-C246E843FC1D}" type="sibTrans" cxnId="{AD570097-FD9E-48F0-A1A0-523716A698E0}">
      <dgm:prSet/>
      <dgm:spPr/>
      <dgm:t>
        <a:bodyPr/>
        <a:lstStyle/>
        <a:p>
          <a:endParaRPr lang="fr-LU" sz="2000" b="1"/>
        </a:p>
      </dgm:t>
    </dgm:pt>
    <dgm:pt modelId="{30C5B900-F0B8-413B-9904-17C7969C5CFC}">
      <dgm:prSet phldrT="[Text]" custT="1"/>
      <dgm:spPr/>
      <dgm:t>
        <a:bodyPr/>
        <a:lstStyle/>
        <a:p>
          <a:r>
            <a:rPr lang="fr-LU" sz="1100" b="1" err="1"/>
            <a:t>Knowledge</a:t>
          </a:r>
          <a:endParaRPr lang="fr-LU" sz="1100" b="1"/>
        </a:p>
      </dgm:t>
    </dgm:pt>
    <dgm:pt modelId="{1985C263-65D5-430E-9902-88BABD11DD16}" type="parTrans" cxnId="{88C2CF8F-F64A-41EC-A665-398A10C93B55}">
      <dgm:prSet/>
      <dgm:spPr/>
      <dgm:t>
        <a:bodyPr/>
        <a:lstStyle/>
        <a:p>
          <a:endParaRPr lang="fr-LU"/>
        </a:p>
      </dgm:t>
    </dgm:pt>
    <dgm:pt modelId="{48E5481D-AC20-4BA5-B0D9-8C7A6EF7E342}" type="sibTrans" cxnId="{88C2CF8F-F64A-41EC-A665-398A10C93B55}">
      <dgm:prSet/>
      <dgm:spPr/>
      <dgm:t>
        <a:bodyPr/>
        <a:lstStyle/>
        <a:p>
          <a:endParaRPr lang="fr-LU"/>
        </a:p>
      </dgm:t>
    </dgm:pt>
    <dgm:pt modelId="{1D831422-8666-4DFE-AE35-920248C4E84B}">
      <dgm:prSet phldrT="[Text]" custT="1"/>
      <dgm:spPr/>
      <dgm:t>
        <a:bodyPr/>
        <a:lstStyle/>
        <a:p>
          <a:r>
            <a:rPr lang="fr-LU" sz="1100" b="1" dirty="0" err="1"/>
            <a:t>Means</a:t>
          </a:r>
          <a:endParaRPr lang="fr-LU" sz="1100" b="1" dirty="0"/>
        </a:p>
      </dgm:t>
    </dgm:pt>
    <dgm:pt modelId="{E8876F3D-95BE-494F-8D29-99EEC9D0E25B}" type="parTrans" cxnId="{63C10FAF-BAFD-4EDE-9F94-06ED776F1228}">
      <dgm:prSet/>
      <dgm:spPr/>
      <dgm:t>
        <a:bodyPr/>
        <a:lstStyle/>
        <a:p>
          <a:endParaRPr lang="fr-LU"/>
        </a:p>
      </dgm:t>
    </dgm:pt>
    <dgm:pt modelId="{EBAA979E-9FCE-43EB-B7AE-157B3C509415}" type="sibTrans" cxnId="{63C10FAF-BAFD-4EDE-9F94-06ED776F1228}">
      <dgm:prSet/>
      <dgm:spPr/>
      <dgm:t>
        <a:bodyPr/>
        <a:lstStyle/>
        <a:p>
          <a:endParaRPr lang="fr-LU"/>
        </a:p>
      </dgm:t>
    </dgm:pt>
    <dgm:pt modelId="{29D0488C-6BEF-4070-8606-C926A22F1981}" type="pres">
      <dgm:prSet presAssocID="{04C3C234-472D-4185-BCA9-5F72C243EF1B}" presName="cycle" presStyleCnt="0">
        <dgm:presLayoutVars>
          <dgm:dir/>
          <dgm:resizeHandles val="exact"/>
        </dgm:presLayoutVars>
      </dgm:prSet>
      <dgm:spPr/>
    </dgm:pt>
    <dgm:pt modelId="{25C029C3-F1BD-4606-A6F1-6515698F033F}" type="pres">
      <dgm:prSet presAssocID="{4D0E7FA3-9216-4FCB-A8E0-44A041BFDA08}" presName="dummy" presStyleCnt="0"/>
      <dgm:spPr/>
    </dgm:pt>
    <dgm:pt modelId="{70C82A34-87EF-4C30-9FC1-19B5ACE2FB23}" type="pres">
      <dgm:prSet presAssocID="{4D0E7FA3-9216-4FCB-A8E0-44A041BFDA08}" presName="node" presStyleLbl="revTx" presStyleIdx="0" presStyleCnt="3">
        <dgm:presLayoutVars>
          <dgm:bulletEnabled val="1"/>
        </dgm:presLayoutVars>
      </dgm:prSet>
      <dgm:spPr/>
    </dgm:pt>
    <dgm:pt modelId="{F8E6A1AE-5184-4DE9-AAE4-EF09422397B1}" type="pres">
      <dgm:prSet presAssocID="{ECF67E69-B52C-4BFE-BDEA-C246E843FC1D}" presName="sibTrans" presStyleLbl="node1" presStyleIdx="0" presStyleCnt="3"/>
      <dgm:spPr/>
    </dgm:pt>
    <dgm:pt modelId="{1FCD572F-F3F5-4A33-A41B-3F666666E97E}" type="pres">
      <dgm:prSet presAssocID="{30C5B900-F0B8-413B-9904-17C7969C5CFC}" presName="dummy" presStyleCnt="0"/>
      <dgm:spPr/>
    </dgm:pt>
    <dgm:pt modelId="{CEE3E518-C29D-40B9-801A-B6EF6818A3B0}" type="pres">
      <dgm:prSet presAssocID="{30C5B900-F0B8-413B-9904-17C7969C5CFC}" presName="node" presStyleLbl="revTx" presStyleIdx="1" presStyleCnt="3">
        <dgm:presLayoutVars>
          <dgm:bulletEnabled val="1"/>
        </dgm:presLayoutVars>
      </dgm:prSet>
      <dgm:spPr/>
    </dgm:pt>
    <dgm:pt modelId="{3E99F8D9-F24A-4AD8-8B3A-1358072CD11C}" type="pres">
      <dgm:prSet presAssocID="{48E5481D-AC20-4BA5-B0D9-8C7A6EF7E342}" presName="sibTrans" presStyleLbl="node1" presStyleIdx="1" presStyleCnt="3"/>
      <dgm:spPr/>
    </dgm:pt>
    <dgm:pt modelId="{8A9E00A5-2906-4794-BA17-931F9F20DA69}" type="pres">
      <dgm:prSet presAssocID="{1D831422-8666-4DFE-AE35-920248C4E84B}" presName="dummy" presStyleCnt="0"/>
      <dgm:spPr/>
    </dgm:pt>
    <dgm:pt modelId="{E1ABA0D0-371B-49DD-BD81-F6C878B6FF85}" type="pres">
      <dgm:prSet presAssocID="{1D831422-8666-4DFE-AE35-920248C4E84B}" presName="node" presStyleLbl="revTx" presStyleIdx="2" presStyleCnt="3">
        <dgm:presLayoutVars>
          <dgm:bulletEnabled val="1"/>
        </dgm:presLayoutVars>
      </dgm:prSet>
      <dgm:spPr/>
    </dgm:pt>
    <dgm:pt modelId="{C69822BA-8EAA-4960-8B86-29F3C718D645}" type="pres">
      <dgm:prSet presAssocID="{EBAA979E-9FCE-43EB-B7AE-157B3C509415}" presName="sibTrans" presStyleLbl="node1" presStyleIdx="2" presStyleCnt="3"/>
      <dgm:spPr/>
    </dgm:pt>
  </dgm:ptLst>
  <dgm:cxnLst>
    <dgm:cxn modelId="{B593D64D-378D-4132-BAB7-974956832593}" type="presOf" srcId="{48E5481D-AC20-4BA5-B0D9-8C7A6EF7E342}" destId="{3E99F8D9-F24A-4AD8-8B3A-1358072CD11C}" srcOrd="0" destOrd="0" presId="urn:microsoft.com/office/officeart/2005/8/layout/cycle1"/>
    <dgm:cxn modelId="{A6FFE07D-1E3C-49A7-8B0A-461CFBA20D30}" type="presOf" srcId="{4D0E7FA3-9216-4FCB-A8E0-44A041BFDA08}" destId="{70C82A34-87EF-4C30-9FC1-19B5ACE2FB23}" srcOrd="0" destOrd="0" presId="urn:microsoft.com/office/officeart/2005/8/layout/cycle1"/>
    <dgm:cxn modelId="{88C2CF8F-F64A-41EC-A665-398A10C93B55}" srcId="{04C3C234-472D-4185-BCA9-5F72C243EF1B}" destId="{30C5B900-F0B8-413B-9904-17C7969C5CFC}" srcOrd="1" destOrd="0" parTransId="{1985C263-65D5-430E-9902-88BABD11DD16}" sibTransId="{48E5481D-AC20-4BA5-B0D9-8C7A6EF7E342}"/>
    <dgm:cxn modelId="{A82F2791-58EC-4C10-8A43-BB7DBB9723CA}" type="presOf" srcId="{30C5B900-F0B8-413B-9904-17C7969C5CFC}" destId="{CEE3E518-C29D-40B9-801A-B6EF6818A3B0}" srcOrd="0" destOrd="0" presId="urn:microsoft.com/office/officeart/2005/8/layout/cycle1"/>
    <dgm:cxn modelId="{AD570097-FD9E-48F0-A1A0-523716A698E0}" srcId="{04C3C234-472D-4185-BCA9-5F72C243EF1B}" destId="{4D0E7FA3-9216-4FCB-A8E0-44A041BFDA08}" srcOrd="0" destOrd="0" parTransId="{BE945D4E-E3CA-42A6-8150-B47BA257AE3B}" sibTransId="{ECF67E69-B52C-4BFE-BDEA-C246E843FC1D}"/>
    <dgm:cxn modelId="{63C10FAF-BAFD-4EDE-9F94-06ED776F1228}" srcId="{04C3C234-472D-4185-BCA9-5F72C243EF1B}" destId="{1D831422-8666-4DFE-AE35-920248C4E84B}" srcOrd="2" destOrd="0" parTransId="{E8876F3D-95BE-494F-8D29-99EEC9D0E25B}" sibTransId="{EBAA979E-9FCE-43EB-B7AE-157B3C509415}"/>
    <dgm:cxn modelId="{1B2004C7-99CD-4FB8-9CC2-ED6730CAE3F8}" type="presOf" srcId="{04C3C234-472D-4185-BCA9-5F72C243EF1B}" destId="{29D0488C-6BEF-4070-8606-C926A22F1981}" srcOrd="0" destOrd="0" presId="urn:microsoft.com/office/officeart/2005/8/layout/cycle1"/>
    <dgm:cxn modelId="{FD5B75DF-4AA4-4C76-8235-A19D7506C350}" type="presOf" srcId="{1D831422-8666-4DFE-AE35-920248C4E84B}" destId="{E1ABA0D0-371B-49DD-BD81-F6C878B6FF85}" srcOrd="0" destOrd="0" presId="urn:microsoft.com/office/officeart/2005/8/layout/cycle1"/>
    <dgm:cxn modelId="{B7D6AFE8-7DCE-4DD1-ABDE-018AC6E0DC43}" type="presOf" srcId="{EBAA979E-9FCE-43EB-B7AE-157B3C509415}" destId="{C69822BA-8EAA-4960-8B86-29F3C718D645}" srcOrd="0" destOrd="0" presId="urn:microsoft.com/office/officeart/2005/8/layout/cycle1"/>
    <dgm:cxn modelId="{259F09F8-2636-44CA-8C16-0D4367A007AF}" type="presOf" srcId="{ECF67E69-B52C-4BFE-BDEA-C246E843FC1D}" destId="{F8E6A1AE-5184-4DE9-AAE4-EF09422397B1}" srcOrd="0" destOrd="0" presId="urn:microsoft.com/office/officeart/2005/8/layout/cycle1"/>
    <dgm:cxn modelId="{19EE30B1-4BA1-4354-9DDE-311B1CD81F3A}" type="presParOf" srcId="{29D0488C-6BEF-4070-8606-C926A22F1981}" destId="{25C029C3-F1BD-4606-A6F1-6515698F033F}" srcOrd="0" destOrd="0" presId="urn:microsoft.com/office/officeart/2005/8/layout/cycle1"/>
    <dgm:cxn modelId="{EE541E73-3275-4552-8951-49138242123A}" type="presParOf" srcId="{29D0488C-6BEF-4070-8606-C926A22F1981}" destId="{70C82A34-87EF-4C30-9FC1-19B5ACE2FB23}" srcOrd="1" destOrd="0" presId="urn:microsoft.com/office/officeart/2005/8/layout/cycle1"/>
    <dgm:cxn modelId="{68D7BC74-141B-41BD-B9A1-1A19075B3F88}" type="presParOf" srcId="{29D0488C-6BEF-4070-8606-C926A22F1981}" destId="{F8E6A1AE-5184-4DE9-AAE4-EF09422397B1}" srcOrd="2" destOrd="0" presId="urn:microsoft.com/office/officeart/2005/8/layout/cycle1"/>
    <dgm:cxn modelId="{DC312005-7933-4FEA-ADB0-E256B967C616}" type="presParOf" srcId="{29D0488C-6BEF-4070-8606-C926A22F1981}" destId="{1FCD572F-F3F5-4A33-A41B-3F666666E97E}" srcOrd="3" destOrd="0" presId="urn:microsoft.com/office/officeart/2005/8/layout/cycle1"/>
    <dgm:cxn modelId="{A3BF01F5-7D1D-4648-8A12-D7D15B71D872}" type="presParOf" srcId="{29D0488C-6BEF-4070-8606-C926A22F1981}" destId="{CEE3E518-C29D-40B9-801A-B6EF6818A3B0}" srcOrd="4" destOrd="0" presId="urn:microsoft.com/office/officeart/2005/8/layout/cycle1"/>
    <dgm:cxn modelId="{1AAC7293-DBDB-40AA-B984-7BFD00B9B9DC}" type="presParOf" srcId="{29D0488C-6BEF-4070-8606-C926A22F1981}" destId="{3E99F8D9-F24A-4AD8-8B3A-1358072CD11C}" srcOrd="5" destOrd="0" presId="urn:microsoft.com/office/officeart/2005/8/layout/cycle1"/>
    <dgm:cxn modelId="{CC3042AC-7EE3-4B65-9CCD-93DFECE4C5EE}" type="presParOf" srcId="{29D0488C-6BEF-4070-8606-C926A22F1981}" destId="{8A9E00A5-2906-4794-BA17-931F9F20DA69}" srcOrd="6" destOrd="0" presId="urn:microsoft.com/office/officeart/2005/8/layout/cycle1"/>
    <dgm:cxn modelId="{3883A1C6-72EC-4134-BD10-BFE588641884}" type="presParOf" srcId="{29D0488C-6BEF-4070-8606-C926A22F1981}" destId="{E1ABA0D0-371B-49DD-BD81-F6C878B6FF85}" srcOrd="7" destOrd="0" presId="urn:microsoft.com/office/officeart/2005/8/layout/cycle1"/>
    <dgm:cxn modelId="{B4EBF14C-262F-4927-8777-1823343C9756}" type="presParOf" srcId="{29D0488C-6BEF-4070-8606-C926A22F1981}" destId="{C69822BA-8EAA-4960-8B86-29F3C718D645}" srcOrd="8" destOrd="0" presId="urn:microsoft.com/office/officeart/2005/8/layout/cycle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AE28021-F82B-4AF0-A90A-78D13DFBAD80}" type="doc">
      <dgm:prSet loTypeId="urn:microsoft.com/office/officeart/2005/8/layout/cycle3" loCatId="cycle" qsTypeId="urn:microsoft.com/office/officeart/2005/8/quickstyle/simple1" qsCatId="simple" csTypeId="urn:microsoft.com/office/officeart/2005/8/colors/accent0_3" csCatId="mainScheme" phldr="1"/>
      <dgm:spPr/>
      <dgm:t>
        <a:bodyPr/>
        <a:lstStyle/>
        <a:p>
          <a:endParaRPr lang="fr-LU"/>
        </a:p>
      </dgm:t>
    </dgm:pt>
    <dgm:pt modelId="{AE628721-15D2-418B-8694-2C087FF65CB3}">
      <dgm:prSet phldrT="[Text]" custT="1"/>
      <dgm:spPr/>
      <dgm:t>
        <a:bodyPr/>
        <a:lstStyle/>
        <a:p>
          <a:r>
            <a:rPr lang="fr-LU" sz="2400"/>
            <a:t>Cultural </a:t>
          </a:r>
          <a:r>
            <a:rPr lang="fr-LU" sz="2400" err="1"/>
            <a:t>principles</a:t>
          </a:r>
          <a:endParaRPr lang="fr-LU" sz="2400"/>
        </a:p>
      </dgm:t>
    </dgm:pt>
    <dgm:pt modelId="{15AC84BD-CF6D-454F-B58B-C853A59CA36B}" type="parTrans" cxnId="{44ECF3D5-6A59-4BA2-9073-EEE28F58088D}">
      <dgm:prSet/>
      <dgm:spPr/>
      <dgm:t>
        <a:bodyPr/>
        <a:lstStyle/>
        <a:p>
          <a:endParaRPr lang="fr-LU" sz="1100"/>
        </a:p>
      </dgm:t>
    </dgm:pt>
    <dgm:pt modelId="{0551FC1F-3461-47DD-804F-43866E35D0AA}" type="sibTrans" cxnId="{44ECF3D5-6A59-4BA2-9073-EEE28F58088D}">
      <dgm:prSet/>
      <dgm:spPr/>
      <dgm:t>
        <a:bodyPr/>
        <a:lstStyle/>
        <a:p>
          <a:endParaRPr lang="fr-LU" sz="1100"/>
        </a:p>
      </dgm:t>
    </dgm:pt>
    <dgm:pt modelId="{F3D7BCB4-A3D2-4FCF-BA51-5DB27D75B5C0}">
      <dgm:prSet phldrT="[Text]" custT="1"/>
      <dgm:spPr/>
      <dgm:t>
        <a:bodyPr/>
        <a:lstStyle/>
        <a:p>
          <a:r>
            <a:rPr lang="fr-LU" sz="2400" err="1"/>
            <a:t>Procedural</a:t>
          </a:r>
          <a:r>
            <a:rPr lang="fr-LU" sz="2400"/>
            <a:t> </a:t>
          </a:r>
          <a:r>
            <a:rPr lang="fr-LU" sz="2400" err="1"/>
            <a:t>means</a:t>
          </a:r>
          <a:endParaRPr lang="fr-LU" sz="2400"/>
        </a:p>
      </dgm:t>
    </dgm:pt>
    <dgm:pt modelId="{BA1449D0-CC1A-4124-9D9F-7C7E130BA072}" type="parTrans" cxnId="{95E1E9A8-EFEB-4D93-840B-704D3F9B28A3}">
      <dgm:prSet/>
      <dgm:spPr/>
      <dgm:t>
        <a:bodyPr/>
        <a:lstStyle/>
        <a:p>
          <a:endParaRPr lang="fr-LU" sz="1100"/>
        </a:p>
      </dgm:t>
    </dgm:pt>
    <dgm:pt modelId="{75230A79-1191-4EB6-84C8-DD7B64BB1BB1}" type="sibTrans" cxnId="{95E1E9A8-EFEB-4D93-840B-704D3F9B28A3}">
      <dgm:prSet/>
      <dgm:spPr/>
      <dgm:t>
        <a:bodyPr/>
        <a:lstStyle/>
        <a:p>
          <a:endParaRPr lang="fr-LU" sz="1100"/>
        </a:p>
      </dgm:t>
    </dgm:pt>
    <dgm:pt modelId="{52394740-092D-4AA2-8A09-7E2390CEF2C1}">
      <dgm:prSet phldrT="[Text]" custT="1"/>
      <dgm:spPr/>
      <dgm:t>
        <a:bodyPr/>
        <a:lstStyle/>
        <a:p>
          <a:r>
            <a:rPr lang="fr-LU" sz="2400"/>
            <a:t>Motivation </a:t>
          </a:r>
          <a:r>
            <a:rPr lang="fr-LU" sz="2400" err="1"/>
            <a:t>enablers</a:t>
          </a:r>
          <a:r>
            <a:rPr lang="fr-LU" sz="2400"/>
            <a:t> and </a:t>
          </a:r>
          <a:r>
            <a:rPr lang="fr-LU" sz="2400" err="1"/>
            <a:t>barriers</a:t>
          </a:r>
          <a:endParaRPr lang="fr-LU" sz="2400"/>
        </a:p>
      </dgm:t>
    </dgm:pt>
    <dgm:pt modelId="{BF33348A-E503-449E-BDA7-083ECD110106}" type="parTrans" cxnId="{E9ADD158-4479-4846-A277-EF1DDF71A24C}">
      <dgm:prSet/>
      <dgm:spPr/>
      <dgm:t>
        <a:bodyPr/>
        <a:lstStyle/>
        <a:p>
          <a:endParaRPr lang="fr-LU" sz="1100"/>
        </a:p>
      </dgm:t>
    </dgm:pt>
    <dgm:pt modelId="{548FE535-F332-4E28-B75D-D49838353CBF}" type="sibTrans" cxnId="{E9ADD158-4479-4846-A277-EF1DDF71A24C}">
      <dgm:prSet/>
      <dgm:spPr/>
      <dgm:t>
        <a:bodyPr/>
        <a:lstStyle/>
        <a:p>
          <a:endParaRPr lang="fr-LU" sz="1100"/>
        </a:p>
      </dgm:t>
    </dgm:pt>
    <dgm:pt modelId="{FB1D9C80-09AC-40EC-B34F-04A303C94FE0}">
      <dgm:prSet phldrT="[Text]" custT="1"/>
      <dgm:spPr/>
      <dgm:t>
        <a:bodyPr/>
        <a:lstStyle/>
        <a:p>
          <a:r>
            <a:rPr lang="fr-LU" sz="2400" err="1"/>
            <a:t>Health</a:t>
          </a:r>
          <a:endParaRPr lang="fr-LU" sz="2400"/>
        </a:p>
      </dgm:t>
    </dgm:pt>
    <dgm:pt modelId="{91383E71-1142-489E-B4F9-0C1B61CC06E0}" type="parTrans" cxnId="{E4C22E06-E9D1-4DCA-9EFD-68D1C115F497}">
      <dgm:prSet/>
      <dgm:spPr/>
      <dgm:t>
        <a:bodyPr/>
        <a:lstStyle/>
        <a:p>
          <a:endParaRPr lang="fr-LU" sz="1100"/>
        </a:p>
      </dgm:t>
    </dgm:pt>
    <dgm:pt modelId="{A9C7AA82-7343-4D06-AB9D-1D7537F83B2E}" type="sibTrans" cxnId="{E4C22E06-E9D1-4DCA-9EFD-68D1C115F497}">
      <dgm:prSet/>
      <dgm:spPr/>
      <dgm:t>
        <a:bodyPr/>
        <a:lstStyle/>
        <a:p>
          <a:endParaRPr lang="fr-LU" sz="1100"/>
        </a:p>
      </dgm:t>
    </dgm:pt>
    <dgm:pt modelId="{49E6B9B9-5D35-4078-8885-BDFF4D00C11C}">
      <dgm:prSet phldrT="[Text]" custT="1"/>
      <dgm:spPr/>
      <dgm:t>
        <a:bodyPr/>
        <a:lstStyle/>
        <a:p>
          <a:r>
            <a:rPr lang="fr-LU" sz="2400"/>
            <a:t>Cognitive </a:t>
          </a:r>
          <a:r>
            <a:rPr lang="fr-LU" sz="2400" err="1"/>
            <a:t>mechanisms</a:t>
          </a:r>
          <a:r>
            <a:rPr lang="fr-LU" sz="2400"/>
            <a:t> </a:t>
          </a:r>
        </a:p>
      </dgm:t>
    </dgm:pt>
    <dgm:pt modelId="{5DBEFEE7-E334-4AAB-86C4-B305D05C1871}" type="parTrans" cxnId="{BEAD7879-0D5A-4D63-B723-D99E6165E692}">
      <dgm:prSet/>
      <dgm:spPr/>
      <dgm:t>
        <a:bodyPr/>
        <a:lstStyle/>
        <a:p>
          <a:endParaRPr lang="fr-LU" sz="1100"/>
        </a:p>
      </dgm:t>
    </dgm:pt>
    <dgm:pt modelId="{EB8C49E4-DBAF-4EC0-BA5F-F42138387FFB}" type="sibTrans" cxnId="{BEAD7879-0D5A-4D63-B723-D99E6165E692}">
      <dgm:prSet/>
      <dgm:spPr/>
      <dgm:t>
        <a:bodyPr/>
        <a:lstStyle/>
        <a:p>
          <a:endParaRPr lang="fr-LU" sz="1100"/>
        </a:p>
      </dgm:t>
    </dgm:pt>
    <dgm:pt modelId="{EE7A6B11-ADBD-468C-BFDB-8A8D2AB93928}">
      <dgm:prSet phldrT="[Text]" custT="1"/>
      <dgm:spPr/>
      <dgm:t>
        <a:bodyPr/>
        <a:lstStyle/>
        <a:p>
          <a:r>
            <a:rPr lang="fr-LU" sz="2400"/>
            <a:t>Organisation </a:t>
          </a:r>
          <a:r>
            <a:rPr lang="fr-LU" sz="2400" err="1"/>
            <a:t>schems</a:t>
          </a:r>
          <a:endParaRPr lang="fr-LU" sz="2400"/>
        </a:p>
      </dgm:t>
    </dgm:pt>
    <dgm:pt modelId="{9F67F120-1B9D-42A0-BC14-CB7F700A9CEC}" type="parTrans" cxnId="{DAADCCA7-D68E-4804-A49D-0147B2E7F2CB}">
      <dgm:prSet/>
      <dgm:spPr/>
      <dgm:t>
        <a:bodyPr/>
        <a:lstStyle/>
        <a:p>
          <a:endParaRPr lang="fr-LU" sz="1100"/>
        </a:p>
      </dgm:t>
    </dgm:pt>
    <dgm:pt modelId="{3D00CD2E-0B08-4A19-977B-FDED7BA27486}" type="sibTrans" cxnId="{DAADCCA7-D68E-4804-A49D-0147B2E7F2CB}">
      <dgm:prSet/>
      <dgm:spPr/>
      <dgm:t>
        <a:bodyPr/>
        <a:lstStyle/>
        <a:p>
          <a:endParaRPr lang="fr-LU" sz="1100"/>
        </a:p>
      </dgm:t>
    </dgm:pt>
    <dgm:pt modelId="{69FD0C40-4B02-4962-B778-51E60B0F82D3}" type="pres">
      <dgm:prSet presAssocID="{0AE28021-F82B-4AF0-A90A-78D13DFBAD80}" presName="Name0" presStyleCnt="0">
        <dgm:presLayoutVars>
          <dgm:dir/>
          <dgm:resizeHandles val="exact"/>
        </dgm:presLayoutVars>
      </dgm:prSet>
      <dgm:spPr/>
    </dgm:pt>
    <dgm:pt modelId="{CDD94998-9F3C-4610-9ED5-2477F12D3589}" type="pres">
      <dgm:prSet presAssocID="{0AE28021-F82B-4AF0-A90A-78D13DFBAD80}" presName="cycle" presStyleCnt="0"/>
      <dgm:spPr/>
    </dgm:pt>
    <dgm:pt modelId="{5B46403D-F134-4BF4-ACAB-B3910FA60C24}" type="pres">
      <dgm:prSet presAssocID="{AE628721-15D2-418B-8694-2C087FF65CB3}" presName="nodeFirstNode" presStyleLbl="node1" presStyleIdx="0" presStyleCnt="6">
        <dgm:presLayoutVars>
          <dgm:bulletEnabled val="1"/>
        </dgm:presLayoutVars>
      </dgm:prSet>
      <dgm:spPr/>
    </dgm:pt>
    <dgm:pt modelId="{E21277FA-A034-4765-A410-D3BCE1394D18}" type="pres">
      <dgm:prSet presAssocID="{0551FC1F-3461-47DD-804F-43866E35D0AA}" presName="sibTransFirstNode" presStyleLbl="bgShp" presStyleIdx="0" presStyleCnt="1"/>
      <dgm:spPr/>
    </dgm:pt>
    <dgm:pt modelId="{08DAD377-EE23-4652-A930-C332EDFE6479}" type="pres">
      <dgm:prSet presAssocID="{F3D7BCB4-A3D2-4FCF-BA51-5DB27D75B5C0}" presName="nodeFollowingNodes" presStyleLbl="node1" presStyleIdx="1" presStyleCnt="6">
        <dgm:presLayoutVars>
          <dgm:bulletEnabled val="1"/>
        </dgm:presLayoutVars>
      </dgm:prSet>
      <dgm:spPr/>
    </dgm:pt>
    <dgm:pt modelId="{060593BF-6D06-4371-8433-96E65B2DD0CF}" type="pres">
      <dgm:prSet presAssocID="{52394740-092D-4AA2-8A09-7E2390CEF2C1}" presName="nodeFollowingNodes" presStyleLbl="node1" presStyleIdx="2" presStyleCnt="6">
        <dgm:presLayoutVars>
          <dgm:bulletEnabled val="1"/>
        </dgm:presLayoutVars>
      </dgm:prSet>
      <dgm:spPr/>
    </dgm:pt>
    <dgm:pt modelId="{C1128A28-E4E8-4114-A86C-43290BD8462D}" type="pres">
      <dgm:prSet presAssocID="{FB1D9C80-09AC-40EC-B34F-04A303C94FE0}" presName="nodeFollowingNodes" presStyleLbl="node1" presStyleIdx="3" presStyleCnt="6">
        <dgm:presLayoutVars>
          <dgm:bulletEnabled val="1"/>
        </dgm:presLayoutVars>
      </dgm:prSet>
      <dgm:spPr/>
    </dgm:pt>
    <dgm:pt modelId="{ECB96FC3-7889-478C-8F23-FB3DB381439F}" type="pres">
      <dgm:prSet presAssocID="{49E6B9B9-5D35-4078-8885-BDFF4D00C11C}" presName="nodeFollowingNodes" presStyleLbl="node1" presStyleIdx="4" presStyleCnt="6" custScaleX="108756">
        <dgm:presLayoutVars>
          <dgm:bulletEnabled val="1"/>
        </dgm:presLayoutVars>
      </dgm:prSet>
      <dgm:spPr/>
    </dgm:pt>
    <dgm:pt modelId="{B869E16B-30C7-40CB-86E3-551FB29D3F86}" type="pres">
      <dgm:prSet presAssocID="{EE7A6B11-ADBD-468C-BFDB-8A8D2AB93928}" presName="nodeFollowingNodes" presStyleLbl="node1" presStyleIdx="5" presStyleCnt="6" custScaleX="108841">
        <dgm:presLayoutVars>
          <dgm:bulletEnabled val="1"/>
        </dgm:presLayoutVars>
      </dgm:prSet>
      <dgm:spPr/>
    </dgm:pt>
  </dgm:ptLst>
  <dgm:cxnLst>
    <dgm:cxn modelId="{E4C22E06-E9D1-4DCA-9EFD-68D1C115F497}" srcId="{0AE28021-F82B-4AF0-A90A-78D13DFBAD80}" destId="{FB1D9C80-09AC-40EC-B34F-04A303C94FE0}" srcOrd="3" destOrd="0" parTransId="{91383E71-1142-489E-B4F9-0C1B61CC06E0}" sibTransId="{A9C7AA82-7343-4D06-AB9D-1D7537F83B2E}"/>
    <dgm:cxn modelId="{6E98041F-7784-4FCD-B925-C687D3871A6E}" type="presOf" srcId="{AE628721-15D2-418B-8694-2C087FF65CB3}" destId="{5B46403D-F134-4BF4-ACAB-B3910FA60C24}" srcOrd="0" destOrd="0" presId="urn:microsoft.com/office/officeart/2005/8/layout/cycle3"/>
    <dgm:cxn modelId="{E5598237-5831-49ED-B7FF-46EFD9E6A315}" type="presOf" srcId="{FB1D9C80-09AC-40EC-B34F-04A303C94FE0}" destId="{C1128A28-E4E8-4114-A86C-43290BD8462D}" srcOrd="0" destOrd="0" presId="urn:microsoft.com/office/officeart/2005/8/layout/cycle3"/>
    <dgm:cxn modelId="{39A1956E-E7CD-4649-A5CA-816BD340D50A}" type="presOf" srcId="{52394740-092D-4AA2-8A09-7E2390CEF2C1}" destId="{060593BF-6D06-4371-8433-96E65B2DD0CF}" srcOrd="0" destOrd="0" presId="urn:microsoft.com/office/officeart/2005/8/layout/cycle3"/>
    <dgm:cxn modelId="{A5493D54-84A0-4DB9-B626-DAA7B9757E41}" type="presOf" srcId="{49E6B9B9-5D35-4078-8885-BDFF4D00C11C}" destId="{ECB96FC3-7889-478C-8F23-FB3DB381439F}" srcOrd="0" destOrd="0" presId="urn:microsoft.com/office/officeart/2005/8/layout/cycle3"/>
    <dgm:cxn modelId="{E9ADD158-4479-4846-A277-EF1DDF71A24C}" srcId="{0AE28021-F82B-4AF0-A90A-78D13DFBAD80}" destId="{52394740-092D-4AA2-8A09-7E2390CEF2C1}" srcOrd="2" destOrd="0" parTransId="{BF33348A-E503-449E-BDA7-083ECD110106}" sibTransId="{548FE535-F332-4E28-B75D-D49838353CBF}"/>
    <dgm:cxn modelId="{BEAD7879-0D5A-4D63-B723-D99E6165E692}" srcId="{0AE28021-F82B-4AF0-A90A-78D13DFBAD80}" destId="{49E6B9B9-5D35-4078-8885-BDFF4D00C11C}" srcOrd="4" destOrd="0" parTransId="{5DBEFEE7-E334-4AAB-86C4-B305D05C1871}" sibTransId="{EB8C49E4-DBAF-4EC0-BA5F-F42138387FFB}"/>
    <dgm:cxn modelId="{0436BE93-7294-4DD7-B351-5FE4E44FBF60}" type="presOf" srcId="{0AE28021-F82B-4AF0-A90A-78D13DFBAD80}" destId="{69FD0C40-4B02-4962-B778-51E60B0F82D3}" srcOrd="0" destOrd="0" presId="urn:microsoft.com/office/officeart/2005/8/layout/cycle3"/>
    <dgm:cxn modelId="{50C9C7A3-B669-4573-B339-3D575A02509F}" type="presOf" srcId="{F3D7BCB4-A3D2-4FCF-BA51-5DB27D75B5C0}" destId="{08DAD377-EE23-4652-A930-C332EDFE6479}" srcOrd="0" destOrd="0" presId="urn:microsoft.com/office/officeart/2005/8/layout/cycle3"/>
    <dgm:cxn modelId="{DAADCCA7-D68E-4804-A49D-0147B2E7F2CB}" srcId="{0AE28021-F82B-4AF0-A90A-78D13DFBAD80}" destId="{EE7A6B11-ADBD-468C-BFDB-8A8D2AB93928}" srcOrd="5" destOrd="0" parTransId="{9F67F120-1B9D-42A0-BC14-CB7F700A9CEC}" sibTransId="{3D00CD2E-0B08-4A19-977B-FDED7BA27486}"/>
    <dgm:cxn modelId="{95E1E9A8-EFEB-4D93-840B-704D3F9B28A3}" srcId="{0AE28021-F82B-4AF0-A90A-78D13DFBAD80}" destId="{F3D7BCB4-A3D2-4FCF-BA51-5DB27D75B5C0}" srcOrd="1" destOrd="0" parTransId="{BA1449D0-CC1A-4124-9D9F-7C7E130BA072}" sibTransId="{75230A79-1191-4EB6-84C8-DD7B64BB1BB1}"/>
    <dgm:cxn modelId="{935E52B5-B865-4303-B0E7-7A1E060AC619}" type="presOf" srcId="{EE7A6B11-ADBD-468C-BFDB-8A8D2AB93928}" destId="{B869E16B-30C7-40CB-86E3-551FB29D3F86}" srcOrd="0" destOrd="0" presId="urn:microsoft.com/office/officeart/2005/8/layout/cycle3"/>
    <dgm:cxn modelId="{44ECF3D5-6A59-4BA2-9073-EEE28F58088D}" srcId="{0AE28021-F82B-4AF0-A90A-78D13DFBAD80}" destId="{AE628721-15D2-418B-8694-2C087FF65CB3}" srcOrd="0" destOrd="0" parTransId="{15AC84BD-CF6D-454F-B58B-C853A59CA36B}" sibTransId="{0551FC1F-3461-47DD-804F-43866E35D0AA}"/>
    <dgm:cxn modelId="{7FF770E8-1AEF-4FA8-A8C9-D6EBB89C881C}" type="presOf" srcId="{0551FC1F-3461-47DD-804F-43866E35D0AA}" destId="{E21277FA-A034-4765-A410-D3BCE1394D18}" srcOrd="0" destOrd="0" presId="urn:microsoft.com/office/officeart/2005/8/layout/cycle3"/>
    <dgm:cxn modelId="{53F4D868-4278-4F4B-BA64-1C917D6C7093}" type="presParOf" srcId="{69FD0C40-4B02-4962-B778-51E60B0F82D3}" destId="{CDD94998-9F3C-4610-9ED5-2477F12D3589}" srcOrd="0" destOrd="0" presId="urn:microsoft.com/office/officeart/2005/8/layout/cycle3"/>
    <dgm:cxn modelId="{B831E6E0-5597-4479-832E-82BEF461F84D}" type="presParOf" srcId="{CDD94998-9F3C-4610-9ED5-2477F12D3589}" destId="{5B46403D-F134-4BF4-ACAB-B3910FA60C24}" srcOrd="0" destOrd="0" presId="urn:microsoft.com/office/officeart/2005/8/layout/cycle3"/>
    <dgm:cxn modelId="{3A7F1E22-B6B8-4220-885B-86A87EFDBA7C}" type="presParOf" srcId="{CDD94998-9F3C-4610-9ED5-2477F12D3589}" destId="{E21277FA-A034-4765-A410-D3BCE1394D18}" srcOrd="1" destOrd="0" presId="urn:microsoft.com/office/officeart/2005/8/layout/cycle3"/>
    <dgm:cxn modelId="{8E7E79B4-2DE7-44F6-979D-3AC59C4F617F}" type="presParOf" srcId="{CDD94998-9F3C-4610-9ED5-2477F12D3589}" destId="{08DAD377-EE23-4652-A930-C332EDFE6479}" srcOrd="2" destOrd="0" presId="urn:microsoft.com/office/officeart/2005/8/layout/cycle3"/>
    <dgm:cxn modelId="{7F7E41FF-3CC9-4C55-B2F9-0CA53FBE7A77}" type="presParOf" srcId="{CDD94998-9F3C-4610-9ED5-2477F12D3589}" destId="{060593BF-6D06-4371-8433-96E65B2DD0CF}" srcOrd="3" destOrd="0" presId="urn:microsoft.com/office/officeart/2005/8/layout/cycle3"/>
    <dgm:cxn modelId="{8BDAA31F-B3C8-4E05-952B-DB03D95EC32C}" type="presParOf" srcId="{CDD94998-9F3C-4610-9ED5-2477F12D3589}" destId="{C1128A28-E4E8-4114-A86C-43290BD8462D}" srcOrd="4" destOrd="0" presId="urn:microsoft.com/office/officeart/2005/8/layout/cycle3"/>
    <dgm:cxn modelId="{677218EB-3772-4702-A0A0-1694596F340C}" type="presParOf" srcId="{CDD94998-9F3C-4610-9ED5-2477F12D3589}" destId="{ECB96FC3-7889-478C-8F23-FB3DB381439F}" srcOrd="5" destOrd="0" presId="urn:microsoft.com/office/officeart/2005/8/layout/cycle3"/>
    <dgm:cxn modelId="{7519D82A-5176-4970-ACAC-FC66A5E82BF2}" type="presParOf" srcId="{CDD94998-9F3C-4610-9ED5-2477F12D3589}" destId="{B869E16B-30C7-40CB-86E3-551FB29D3F86}" srcOrd="6" destOrd="0" presId="urn:microsoft.com/office/officeart/2005/8/layout/cycle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indent="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9532081" y="2557684"/>
        <a:ext cx="1558759" cy="307497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797F4D-038C-432E-8D76-B34777215631}">
      <dsp:nvSpPr>
        <dsp:cNvPr id="0" name=""/>
        <dsp:cNvSpPr/>
      </dsp:nvSpPr>
      <dsp:spPr>
        <a:xfrm>
          <a:off x="-20543" y="2055172"/>
          <a:ext cx="2374794" cy="2490053"/>
        </a:xfrm>
        <a:prstGeom prst="upArrow">
          <a:avLst/>
        </a:prstGeom>
        <a:gradFill flip="none" rotWithShape="0">
          <a:gsLst>
            <a:gs pos="0">
              <a:srgbClr val="C00000">
                <a:shade val="30000"/>
                <a:satMod val="115000"/>
              </a:srgbClr>
            </a:gs>
            <a:gs pos="50000">
              <a:srgbClr val="C00000">
                <a:shade val="67500"/>
                <a:satMod val="115000"/>
              </a:srgbClr>
            </a:gs>
            <a:gs pos="100000">
              <a:srgbClr val="C00000">
                <a:shade val="100000"/>
                <a:satMod val="115000"/>
              </a:srgbClr>
            </a:gs>
          </a:gsLst>
          <a:lin ang="108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2B45EA-9807-4487-8C75-5E8BE0942CFD}">
      <dsp:nvSpPr>
        <dsp:cNvPr id="0" name=""/>
        <dsp:cNvSpPr/>
      </dsp:nvSpPr>
      <dsp:spPr>
        <a:xfrm>
          <a:off x="2969690" y="-431756"/>
          <a:ext cx="4226655" cy="37155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0" rIns="142240" bIns="142240" numCol="1" spcCol="1270" anchor="ctr" anchorCtr="0">
          <a:noAutofit/>
        </a:bodyPr>
        <a:lstStyle/>
        <a:p>
          <a:pPr marL="0" lvl="0" indent="0" algn="l" defTabSz="889000">
            <a:lnSpc>
              <a:spcPct val="90000"/>
            </a:lnSpc>
            <a:spcBef>
              <a:spcPct val="0"/>
            </a:spcBef>
            <a:spcAft>
              <a:spcPct val="35000"/>
            </a:spcAft>
            <a:buNone/>
          </a:pPr>
          <a:r>
            <a:rPr lang="fr-LU" sz="2000" b="1" kern="1200"/>
            <a:t>Fatigue and stress </a:t>
          </a:r>
          <a:r>
            <a:rPr lang="fr-LU" sz="2000" b="1" kern="1200" err="1"/>
            <a:t>decreased</a:t>
          </a:r>
          <a:r>
            <a:rPr lang="fr-LU" sz="2000" b="1" kern="1200"/>
            <a:t> …</a:t>
          </a:r>
        </a:p>
        <a:p>
          <a:pPr marL="228600" lvl="1" indent="-228600" algn="l" defTabSz="889000">
            <a:lnSpc>
              <a:spcPct val="90000"/>
            </a:lnSpc>
            <a:spcBef>
              <a:spcPct val="0"/>
            </a:spcBef>
            <a:spcAft>
              <a:spcPct val="15000"/>
            </a:spcAft>
            <a:buChar char="•"/>
          </a:pPr>
          <a:r>
            <a:rPr lang="fr-LU" sz="2000" kern="1200"/>
            <a:t>Attention and vigilance</a:t>
          </a:r>
        </a:p>
        <a:p>
          <a:pPr marL="228600" lvl="1" indent="-228600" algn="l" defTabSz="889000">
            <a:lnSpc>
              <a:spcPct val="90000"/>
            </a:lnSpc>
            <a:spcBef>
              <a:spcPct val="0"/>
            </a:spcBef>
            <a:spcAft>
              <a:spcPct val="15000"/>
            </a:spcAft>
            <a:buChar char="•"/>
          </a:pPr>
          <a:r>
            <a:rPr lang="fr-LU" sz="2000" kern="1200" err="1"/>
            <a:t>Decision</a:t>
          </a:r>
          <a:r>
            <a:rPr lang="fr-LU" sz="2000" kern="1200"/>
            <a:t> </a:t>
          </a:r>
          <a:r>
            <a:rPr lang="fr-LU" sz="2000" kern="1200" err="1"/>
            <a:t>making</a:t>
          </a:r>
          <a:r>
            <a:rPr lang="fr-LU" sz="2000" kern="1200"/>
            <a:t> </a:t>
          </a:r>
          <a:r>
            <a:rPr lang="fr-LU" sz="2000" kern="1200" err="1"/>
            <a:t>ability</a:t>
          </a:r>
          <a:endParaRPr lang="fr-LU" sz="2000" kern="1200"/>
        </a:p>
        <a:p>
          <a:pPr marL="228600" lvl="1" indent="-228600" algn="l" defTabSz="889000">
            <a:lnSpc>
              <a:spcPct val="90000"/>
            </a:lnSpc>
            <a:spcBef>
              <a:spcPct val="0"/>
            </a:spcBef>
            <a:spcAft>
              <a:spcPct val="15000"/>
            </a:spcAft>
            <a:buChar char="•"/>
          </a:pPr>
          <a:r>
            <a:rPr lang="fr-LU" sz="2000" kern="1200" err="1"/>
            <a:t>Productivity</a:t>
          </a:r>
          <a:endParaRPr lang="fr-LU" sz="2000" kern="1200"/>
        </a:p>
        <a:p>
          <a:pPr marL="228600" lvl="1" indent="-228600" algn="l" defTabSz="889000">
            <a:lnSpc>
              <a:spcPct val="90000"/>
            </a:lnSpc>
            <a:spcBef>
              <a:spcPct val="0"/>
            </a:spcBef>
            <a:spcAft>
              <a:spcPct val="15000"/>
            </a:spcAft>
            <a:buChar char="•"/>
          </a:pPr>
          <a:r>
            <a:rPr lang="fr-LU" sz="2000" kern="1200" err="1"/>
            <a:t>Quality</a:t>
          </a:r>
          <a:r>
            <a:rPr lang="fr-LU" sz="2000" kern="1200"/>
            <a:t> of </a:t>
          </a:r>
          <a:r>
            <a:rPr lang="fr-LU" sz="2000" kern="1200" err="1"/>
            <a:t>work</a:t>
          </a:r>
          <a:endParaRPr lang="fr-LU" sz="2000" kern="1200"/>
        </a:p>
        <a:p>
          <a:pPr marL="228600" lvl="1" indent="-228600" algn="l" defTabSz="889000">
            <a:lnSpc>
              <a:spcPct val="90000"/>
            </a:lnSpc>
            <a:spcBef>
              <a:spcPct val="0"/>
            </a:spcBef>
            <a:spcAft>
              <a:spcPct val="15000"/>
            </a:spcAft>
            <a:buChar char="•"/>
          </a:pPr>
          <a:r>
            <a:rPr lang="fr-LU" sz="2000" kern="1200"/>
            <a:t>Communication </a:t>
          </a:r>
          <a:r>
            <a:rPr lang="fr-LU" sz="2000" kern="1200" err="1"/>
            <a:t>skills</a:t>
          </a:r>
          <a:endParaRPr lang="fr-LU" sz="2000" kern="1200"/>
        </a:p>
        <a:p>
          <a:pPr marL="228600" lvl="1" indent="-228600" algn="l" defTabSz="889000">
            <a:lnSpc>
              <a:spcPct val="90000"/>
            </a:lnSpc>
            <a:spcBef>
              <a:spcPct val="0"/>
            </a:spcBef>
            <a:spcAft>
              <a:spcPct val="15000"/>
            </a:spcAft>
            <a:buChar char="•"/>
          </a:pPr>
          <a:r>
            <a:rPr lang="fr-LU" sz="2000" kern="1200" err="1"/>
            <a:t>Memorisation</a:t>
          </a:r>
          <a:r>
            <a:rPr lang="fr-LU" sz="2000" kern="1200"/>
            <a:t> </a:t>
          </a:r>
          <a:r>
            <a:rPr lang="fr-LU" sz="2000" kern="1200" err="1"/>
            <a:t>abilities</a:t>
          </a:r>
          <a:endParaRPr lang="fr-LU" sz="2000" kern="1200"/>
        </a:p>
        <a:p>
          <a:pPr marL="228600" lvl="1" indent="-228600" algn="l" defTabSz="889000">
            <a:lnSpc>
              <a:spcPct val="90000"/>
            </a:lnSpc>
            <a:spcBef>
              <a:spcPct val="0"/>
            </a:spcBef>
            <a:spcAft>
              <a:spcPct val="15000"/>
            </a:spcAft>
            <a:buChar char="•"/>
          </a:pPr>
          <a:r>
            <a:rPr lang="fr-LU" sz="2000" kern="1200"/>
            <a:t>Stress management</a:t>
          </a:r>
        </a:p>
      </dsp:txBody>
      <dsp:txXfrm>
        <a:off x="2969690" y="-431756"/>
        <a:ext cx="4226655" cy="3715583"/>
      </dsp:txXfrm>
    </dsp:sp>
    <dsp:sp modelId="{455D9DA6-5862-4262-87AE-6F8432FD35B1}">
      <dsp:nvSpPr>
        <dsp:cNvPr id="0" name=""/>
        <dsp:cNvSpPr/>
      </dsp:nvSpPr>
      <dsp:spPr>
        <a:xfrm>
          <a:off x="716568" y="247700"/>
          <a:ext cx="2374794" cy="2490053"/>
        </a:xfrm>
        <a:prstGeom prst="downArrow">
          <a:avLst/>
        </a:prstGeom>
        <a:gradFill flip="none" rotWithShape="0">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F466FB-DC3F-4008-BBB0-A2BA6E5878AF}">
      <dsp:nvSpPr>
        <dsp:cNvPr id="0" name=""/>
        <dsp:cNvSpPr/>
      </dsp:nvSpPr>
      <dsp:spPr>
        <a:xfrm>
          <a:off x="2969691" y="2627818"/>
          <a:ext cx="4226655" cy="2991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0" rIns="142240" bIns="142240" numCol="1" spcCol="1270" anchor="ctr" anchorCtr="0">
          <a:noAutofit/>
        </a:bodyPr>
        <a:lstStyle/>
        <a:p>
          <a:pPr marL="0" lvl="0" indent="0" algn="l" defTabSz="889000">
            <a:lnSpc>
              <a:spcPct val="90000"/>
            </a:lnSpc>
            <a:spcBef>
              <a:spcPct val="0"/>
            </a:spcBef>
            <a:spcAft>
              <a:spcPct val="35000"/>
            </a:spcAft>
            <a:buNone/>
          </a:pPr>
          <a:r>
            <a:rPr lang="fr-LU" sz="2000" b="1" kern="1200"/>
            <a:t>Fatigue and stress </a:t>
          </a:r>
          <a:r>
            <a:rPr lang="fr-LU" sz="2000" b="1" kern="1200" err="1"/>
            <a:t>increased</a:t>
          </a:r>
          <a:r>
            <a:rPr lang="fr-LU" sz="2000" b="1" kern="1200"/>
            <a:t> …</a:t>
          </a:r>
        </a:p>
        <a:p>
          <a:pPr marL="228600" lvl="1" indent="-228600" algn="l" defTabSz="889000">
            <a:lnSpc>
              <a:spcPct val="90000"/>
            </a:lnSpc>
            <a:spcBef>
              <a:spcPct val="0"/>
            </a:spcBef>
            <a:spcAft>
              <a:spcPct val="15000"/>
            </a:spcAft>
            <a:buChar char="•"/>
          </a:pPr>
          <a:r>
            <a:rPr lang="fr-LU" sz="2000" kern="1200"/>
            <a:t>Risk </a:t>
          </a:r>
          <a:r>
            <a:rPr lang="fr-LU" sz="2000" kern="1200" err="1"/>
            <a:t>taking</a:t>
          </a:r>
          <a:r>
            <a:rPr lang="fr-LU" sz="2000" kern="1200"/>
            <a:t> </a:t>
          </a:r>
          <a:r>
            <a:rPr lang="fr-LU" sz="2000" kern="1200" err="1"/>
            <a:t>decisions</a:t>
          </a:r>
          <a:r>
            <a:rPr lang="fr-LU" sz="2000" kern="1200"/>
            <a:t> – Violations of </a:t>
          </a:r>
          <a:r>
            <a:rPr lang="fr-LU" sz="2000" kern="1200" err="1"/>
            <a:t>rules</a:t>
          </a:r>
          <a:endParaRPr lang="fr-LU" sz="2000" kern="1200"/>
        </a:p>
        <a:p>
          <a:pPr marL="228600" lvl="1" indent="-228600" algn="l" defTabSz="889000">
            <a:lnSpc>
              <a:spcPct val="90000"/>
            </a:lnSpc>
            <a:spcBef>
              <a:spcPct val="0"/>
            </a:spcBef>
            <a:spcAft>
              <a:spcPct val="15000"/>
            </a:spcAft>
            <a:buChar char="•"/>
          </a:pPr>
          <a:r>
            <a:rPr lang="fr-LU" sz="2000" kern="1200" err="1"/>
            <a:t>Errors</a:t>
          </a:r>
          <a:endParaRPr lang="fr-LU" sz="2000" kern="1200"/>
        </a:p>
        <a:p>
          <a:pPr marL="228600" lvl="1" indent="-228600" algn="l" defTabSz="889000">
            <a:lnSpc>
              <a:spcPct val="90000"/>
            </a:lnSpc>
            <a:spcBef>
              <a:spcPct val="0"/>
            </a:spcBef>
            <a:spcAft>
              <a:spcPct val="15000"/>
            </a:spcAft>
            <a:buChar char="•"/>
          </a:pPr>
          <a:r>
            <a:rPr lang="fr-LU" sz="2000" kern="1200" err="1"/>
            <a:t>Unsafe</a:t>
          </a:r>
          <a:r>
            <a:rPr lang="fr-LU" sz="2000" kern="1200"/>
            <a:t> </a:t>
          </a:r>
          <a:r>
            <a:rPr lang="fr-LU" sz="2000" kern="1200" err="1"/>
            <a:t>behaviors</a:t>
          </a:r>
          <a:endParaRPr lang="fr-LU" sz="2000" kern="1200"/>
        </a:p>
        <a:p>
          <a:pPr marL="228600" lvl="1" indent="-228600" algn="l" defTabSz="889000">
            <a:lnSpc>
              <a:spcPct val="90000"/>
            </a:lnSpc>
            <a:spcBef>
              <a:spcPct val="0"/>
            </a:spcBef>
            <a:spcAft>
              <a:spcPct val="15000"/>
            </a:spcAft>
            <a:buChar char="•"/>
          </a:pPr>
          <a:r>
            <a:rPr lang="fr-LU" sz="2000" kern="1200" err="1"/>
            <a:t>Missings</a:t>
          </a:r>
          <a:endParaRPr lang="fr-LU" sz="2000" kern="1200"/>
        </a:p>
        <a:p>
          <a:pPr marL="228600" lvl="1" indent="-228600" algn="l" defTabSz="889000">
            <a:lnSpc>
              <a:spcPct val="90000"/>
            </a:lnSpc>
            <a:spcBef>
              <a:spcPct val="0"/>
            </a:spcBef>
            <a:spcAft>
              <a:spcPct val="15000"/>
            </a:spcAft>
            <a:buChar char="•"/>
          </a:pPr>
          <a:r>
            <a:rPr lang="fr-LU" sz="2000" kern="1200" err="1"/>
            <a:t>Absenteism</a:t>
          </a:r>
          <a:endParaRPr lang="fr-LU" sz="2000" kern="1200"/>
        </a:p>
      </dsp:txBody>
      <dsp:txXfrm>
        <a:off x="2969691" y="2627818"/>
        <a:ext cx="4226655" cy="299155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E090C6-A80F-445F-B0F7-44F10DA3EAE8}">
      <dsp:nvSpPr>
        <dsp:cNvPr id="0" name=""/>
        <dsp:cNvSpPr/>
      </dsp:nvSpPr>
      <dsp:spPr>
        <a:xfrm>
          <a:off x="1815305" y="2290"/>
          <a:ext cx="3834740" cy="647693"/>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fr-LU" sz="2800" kern="1200"/>
            <a:t>Fatigue and Stress</a:t>
          </a:r>
        </a:p>
      </dsp:txBody>
      <dsp:txXfrm>
        <a:off x="1834275" y="21260"/>
        <a:ext cx="3796800" cy="609753"/>
      </dsp:txXfrm>
    </dsp:sp>
    <dsp:sp modelId="{E43EFDED-51B6-4CEC-B0CF-DF2974B62E16}">
      <dsp:nvSpPr>
        <dsp:cNvPr id="0" name=""/>
        <dsp:cNvSpPr/>
      </dsp:nvSpPr>
      <dsp:spPr>
        <a:xfrm>
          <a:off x="1815305" y="766568"/>
          <a:ext cx="647693" cy="647693"/>
        </a:xfrm>
        <a:prstGeom prst="roundRect">
          <a:avLst>
            <a:gd name="adj" fmla="val 1667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559D58E-B0C5-4828-9937-5E895E9EDF56}">
      <dsp:nvSpPr>
        <dsp:cNvPr id="0" name=""/>
        <dsp:cNvSpPr/>
      </dsp:nvSpPr>
      <dsp:spPr>
        <a:xfrm>
          <a:off x="2501860" y="766568"/>
          <a:ext cx="3148185" cy="647693"/>
        </a:xfrm>
        <a:prstGeom prst="roundRect">
          <a:avLst>
            <a:gd name="adj" fmla="val 1667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fr-LU" sz="900" b="1" kern="1200"/>
            <a:t>Cognitive and Physical </a:t>
          </a:r>
          <a:r>
            <a:rPr lang="fr-LU" sz="900" b="1" kern="1200" err="1"/>
            <a:t>load</a:t>
          </a:r>
          <a:r>
            <a:rPr lang="fr-LU" sz="900" b="1" kern="1200"/>
            <a:t> of </a:t>
          </a:r>
          <a:r>
            <a:rPr lang="fr-LU" sz="900" b="1" kern="1200" err="1"/>
            <a:t>work</a:t>
          </a:r>
          <a:endParaRPr lang="fr-LU" sz="900" b="1" kern="1200"/>
        </a:p>
        <a:p>
          <a:pPr marL="0" lvl="0" indent="0" algn="ctr" defTabSz="400050">
            <a:lnSpc>
              <a:spcPct val="90000"/>
            </a:lnSpc>
            <a:spcBef>
              <a:spcPct val="0"/>
            </a:spcBef>
            <a:spcAft>
              <a:spcPct val="35000"/>
            </a:spcAft>
            <a:buNone/>
          </a:pPr>
          <a:r>
            <a:rPr lang="fr-LU" sz="900" kern="1200"/>
            <a:t>(</a:t>
          </a:r>
          <a:r>
            <a:rPr lang="fr-LU" sz="900" kern="1200" err="1"/>
            <a:t>complexity</a:t>
          </a:r>
          <a:r>
            <a:rPr lang="fr-LU" sz="900" kern="1200"/>
            <a:t> of </a:t>
          </a:r>
          <a:r>
            <a:rPr lang="fr-LU" sz="900" kern="1200" err="1"/>
            <a:t>tasks</a:t>
          </a:r>
          <a:r>
            <a:rPr lang="fr-LU" sz="900" kern="1200"/>
            <a:t>, </a:t>
          </a:r>
          <a:r>
            <a:rPr lang="fr-LU" sz="900" kern="1200" err="1"/>
            <a:t>intensity</a:t>
          </a:r>
          <a:r>
            <a:rPr lang="fr-LU" sz="900" kern="1200"/>
            <a:t> …)</a:t>
          </a:r>
        </a:p>
      </dsp:txBody>
      <dsp:txXfrm>
        <a:off x="2533483" y="798191"/>
        <a:ext cx="3084939" cy="584447"/>
      </dsp:txXfrm>
    </dsp:sp>
    <dsp:sp modelId="{E862EEC5-3712-4223-95AA-610E5778B6C8}">
      <dsp:nvSpPr>
        <dsp:cNvPr id="0" name=""/>
        <dsp:cNvSpPr/>
      </dsp:nvSpPr>
      <dsp:spPr>
        <a:xfrm>
          <a:off x="1815305" y="1491985"/>
          <a:ext cx="647693" cy="647693"/>
        </a:xfrm>
        <a:prstGeom prst="roundRect">
          <a:avLst>
            <a:gd name="adj" fmla="val 1667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E175D4-1780-48C4-AFAC-3464CAF6A675}">
      <dsp:nvSpPr>
        <dsp:cNvPr id="0" name=""/>
        <dsp:cNvSpPr/>
      </dsp:nvSpPr>
      <dsp:spPr>
        <a:xfrm>
          <a:off x="2501860" y="1491985"/>
          <a:ext cx="3148185" cy="647693"/>
        </a:xfrm>
        <a:prstGeom prst="roundRect">
          <a:avLst>
            <a:gd name="adj" fmla="val 1667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fr-LU" sz="900" b="1" kern="1200" err="1"/>
            <a:t>Working</a:t>
          </a:r>
          <a:r>
            <a:rPr lang="fr-LU" sz="900" b="1" kern="1200"/>
            <a:t> conditions and </a:t>
          </a:r>
          <a:r>
            <a:rPr lang="fr-LU" sz="900" b="1" kern="1200" err="1"/>
            <a:t>environment</a:t>
          </a:r>
          <a:endParaRPr lang="fr-LU" sz="900" b="1" kern="1200"/>
        </a:p>
        <a:p>
          <a:pPr marL="0" lvl="0" indent="0" algn="ctr" defTabSz="400050">
            <a:lnSpc>
              <a:spcPct val="90000"/>
            </a:lnSpc>
            <a:spcBef>
              <a:spcPct val="0"/>
            </a:spcBef>
            <a:spcAft>
              <a:spcPct val="35000"/>
            </a:spcAft>
            <a:buNone/>
          </a:pPr>
          <a:r>
            <a:rPr lang="fr-LU" sz="900" kern="1200"/>
            <a:t>(light, noise, </a:t>
          </a:r>
          <a:r>
            <a:rPr lang="fr-LU" sz="900" kern="1200" err="1"/>
            <a:t>temperature</a:t>
          </a:r>
          <a:r>
            <a:rPr lang="fr-LU" sz="900" kern="1200"/>
            <a:t>, pollution, </a:t>
          </a:r>
          <a:r>
            <a:rPr lang="fr-LU" sz="900" kern="1200" err="1"/>
            <a:t>layout</a:t>
          </a:r>
          <a:r>
            <a:rPr lang="fr-LU" sz="900" kern="1200"/>
            <a:t> …)</a:t>
          </a:r>
        </a:p>
      </dsp:txBody>
      <dsp:txXfrm>
        <a:off x="2533483" y="1523608"/>
        <a:ext cx="3084939" cy="584447"/>
      </dsp:txXfrm>
    </dsp:sp>
    <dsp:sp modelId="{C3E21CF9-2771-479F-877B-7BF61A5D34AA}">
      <dsp:nvSpPr>
        <dsp:cNvPr id="0" name=""/>
        <dsp:cNvSpPr/>
      </dsp:nvSpPr>
      <dsp:spPr>
        <a:xfrm>
          <a:off x="1815305" y="2217402"/>
          <a:ext cx="647693" cy="647693"/>
        </a:xfrm>
        <a:prstGeom prst="roundRect">
          <a:avLst>
            <a:gd name="adj" fmla="val 1667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45FB125-0AD5-426C-9474-F2FBA52ADC18}">
      <dsp:nvSpPr>
        <dsp:cNvPr id="0" name=""/>
        <dsp:cNvSpPr/>
      </dsp:nvSpPr>
      <dsp:spPr>
        <a:xfrm>
          <a:off x="2501860" y="2217402"/>
          <a:ext cx="3148185" cy="647693"/>
        </a:xfrm>
        <a:prstGeom prst="roundRect">
          <a:avLst>
            <a:gd name="adj" fmla="val 1667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fr-LU" sz="900" b="1" kern="1200"/>
            <a:t>Work planning and </a:t>
          </a:r>
          <a:r>
            <a:rPr lang="fr-LU" sz="900" b="1" kern="1200" err="1"/>
            <a:t>scheduling</a:t>
          </a:r>
          <a:endParaRPr lang="fr-LU" sz="900" b="1" kern="1200"/>
        </a:p>
        <a:p>
          <a:pPr marL="0" lvl="0" indent="0" algn="ctr" defTabSz="400050">
            <a:lnSpc>
              <a:spcPct val="90000"/>
            </a:lnSpc>
            <a:spcBef>
              <a:spcPct val="0"/>
            </a:spcBef>
            <a:spcAft>
              <a:spcPct val="35000"/>
            </a:spcAft>
            <a:buNone/>
          </a:pPr>
          <a:r>
            <a:rPr lang="fr-LU" sz="900" b="0" kern="1200"/>
            <a:t>(</a:t>
          </a:r>
          <a:r>
            <a:rPr lang="fr-LU" sz="900" b="0" kern="1200" err="1"/>
            <a:t>tasks</a:t>
          </a:r>
          <a:r>
            <a:rPr lang="fr-LU" sz="900" b="0" kern="1200"/>
            <a:t> allocation, </a:t>
          </a:r>
          <a:r>
            <a:rPr lang="fr-LU" sz="900" b="0" kern="1200" err="1"/>
            <a:t>pacing</a:t>
          </a:r>
          <a:r>
            <a:rPr lang="fr-LU" sz="900" b="0" kern="1200"/>
            <a:t> …)</a:t>
          </a:r>
        </a:p>
      </dsp:txBody>
      <dsp:txXfrm>
        <a:off x="2533483" y="2249025"/>
        <a:ext cx="3084939" cy="584447"/>
      </dsp:txXfrm>
    </dsp:sp>
    <dsp:sp modelId="{2070A03B-3D60-4692-9A04-D664F6B2E37A}">
      <dsp:nvSpPr>
        <dsp:cNvPr id="0" name=""/>
        <dsp:cNvSpPr/>
      </dsp:nvSpPr>
      <dsp:spPr>
        <a:xfrm>
          <a:off x="1815305" y="2942819"/>
          <a:ext cx="647693" cy="647693"/>
        </a:xfrm>
        <a:prstGeom prst="roundRect">
          <a:avLst>
            <a:gd name="adj" fmla="val 16670"/>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C05FF5-1447-4E04-8723-7BA7F9BBC47D}">
      <dsp:nvSpPr>
        <dsp:cNvPr id="0" name=""/>
        <dsp:cNvSpPr/>
      </dsp:nvSpPr>
      <dsp:spPr>
        <a:xfrm>
          <a:off x="2501860" y="2942819"/>
          <a:ext cx="3148185" cy="647693"/>
        </a:xfrm>
        <a:prstGeom prst="roundRect">
          <a:avLst>
            <a:gd name="adj" fmla="val 1667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fr-LU" sz="900" b="1" kern="1200"/>
            <a:t>Organisation and staff</a:t>
          </a:r>
        </a:p>
        <a:p>
          <a:pPr marL="0" lvl="0" indent="0" algn="ctr" defTabSz="400050">
            <a:lnSpc>
              <a:spcPct val="90000"/>
            </a:lnSpc>
            <a:spcBef>
              <a:spcPct val="0"/>
            </a:spcBef>
            <a:spcAft>
              <a:spcPct val="35000"/>
            </a:spcAft>
            <a:buNone/>
          </a:pPr>
          <a:r>
            <a:rPr lang="fr-LU" sz="900" b="0" kern="1200"/>
            <a:t>(management vs </a:t>
          </a:r>
          <a:r>
            <a:rPr lang="fr-LU" sz="900" b="0" kern="1200" err="1"/>
            <a:t>operational</a:t>
          </a:r>
          <a:r>
            <a:rPr lang="fr-LU" sz="900" b="0" kern="1200"/>
            <a:t> </a:t>
          </a:r>
          <a:r>
            <a:rPr lang="fr-LU" sz="900" b="0" kern="1200" err="1"/>
            <a:t>functions</a:t>
          </a:r>
          <a:r>
            <a:rPr lang="fr-LU" sz="900" b="0" kern="1200"/>
            <a:t>, staffs </a:t>
          </a:r>
          <a:r>
            <a:rPr lang="fr-LU" sz="900" b="0" kern="1200" err="1"/>
            <a:t>involved</a:t>
          </a:r>
          <a:r>
            <a:rPr lang="fr-LU" sz="900" b="0" kern="1200"/>
            <a:t>)</a:t>
          </a:r>
        </a:p>
      </dsp:txBody>
      <dsp:txXfrm>
        <a:off x="2533483" y="2974442"/>
        <a:ext cx="3084939" cy="584447"/>
      </dsp:txXfrm>
    </dsp:sp>
    <dsp:sp modelId="{5F31AF2C-900B-4A35-8DE9-F66CB28EE95B}">
      <dsp:nvSpPr>
        <dsp:cNvPr id="0" name=""/>
        <dsp:cNvSpPr/>
      </dsp:nvSpPr>
      <dsp:spPr>
        <a:xfrm>
          <a:off x="1815305" y="3668236"/>
          <a:ext cx="647693" cy="647693"/>
        </a:xfrm>
        <a:prstGeom prst="roundRect">
          <a:avLst>
            <a:gd name="adj" fmla="val 16670"/>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B6C954-7F1E-4226-9ED4-942C49933EC3}">
      <dsp:nvSpPr>
        <dsp:cNvPr id="0" name=""/>
        <dsp:cNvSpPr/>
      </dsp:nvSpPr>
      <dsp:spPr>
        <a:xfrm>
          <a:off x="2501860" y="3668236"/>
          <a:ext cx="3148185" cy="647693"/>
        </a:xfrm>
        <a:prstGeom prst="roundRect">
          <a:avLst>
            <a:gd name="adj" fmla="val 1667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fr-LU" sz="900" b="1" kern="1200" err="1"/>
            <a:t>Individual</a:t>
          </a:r>
          <a:r>
            <a:rPr lang="fr-LU" sz="900" b="1" kern="1200"/>
            <a:t> lifestyle and </a:t>
          </a:r>
          <a:r>
            <a:rPr lang="fr-LU" sz="900" b="1" kern="1200" err="1"/>
            <a:t>health</a:t>
          </a:r>
          <a:endParaRPr lang="fr-LU" sz="900" b="1" kern="1200"/>
        </a:p>
        <a:p>
          <a:pPr marL="0" lvl="0" indent="0" algn="ctr" defTabSz="400050">
            <a:lnSpc>
              <a:spcPct val="90000"/>
            </a:lnSpc>
            <a:spcBef>
              <a:spcPct val="0"/>
            </a:spcBef>
            <a:spcAft>
              <a:spcPct val="35000"/>
            </a:spcAft>
            <a:buNone/>
          </a:pPr>
          <a:r>
            <a:rPr lang="fr-LU" sz="900" b="0" kern="1200"/>
            <a:t>(</a:t>
          </a:r>
          <a:r>
            <a:rPr lang="fr-LU" sz="900" b="0" kern="1200" err="1"/>
            <a:t>food</a:t>
          </a:r>
          <a:r>
            <a:rPr lang="fr-LU" sz="900" b="0" kern="1200"/>
            <a:t> habits, sports, </a:t>
          </a:r>
          <a:r>
            <a:rPr lang="fr-LU" sz="900" b="0" kern="1200" err="1"/>
            <a:t>restings</a:t>
          </a:r>
          <a:r>
            <a:rPr lang="fr-LU" sz="900" b="0" kern="1200"/>
            <a:t>)</a:t>
          </a:r>
        </a:p>
      </dsp:txBody>
      <dsp:txXfrm>
        <a:off x="2533483" y="3699859"/>
        <a:ext cx="3084939" cy="584447"/>
      </dsp:txXfrm>
    </dsp:sp>
    <dsp:sp modelId="{C86B356B-48C4-4923-A823-FB8EFF033C00}">
      <dsp:nvSpPr>
        <dsp:cNvPr id="0" name=""/>
        <dsp:cNvSpPr/>
      </dsp:nvSpPr>
      <dsp:spPr>
        <a:xfrm>
          <a:off x="1815305" y="4393653"/>
          <a:ext cx="647693" cy="647693"/>
        </a:xfrm>
        <a:prstGeom prst="roundRect">
          <a:avLst>
            <a:gd name="adj" fmla="val 16670"/>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EB5271-7910-44C6-8722-DFECF08238B0}">
      <dsp:nvSpPr>
        <dsp:cNvPr id="0" name=""/>
        <dsp:cNvSpPr/>
      </dsp:nvSpPr>
      <dsp:spPr>
        <a:xfrm>
          <a:off x="2501860" y="4393653"/>
          <a:ext cx="3148185" cy="647693"/>
        </a:xfrm>
        <a:prstGeom prst="roundRect">
          <a:avLst>
            <a:gd name="adj" fmla="val 1667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fr-LU" sz="900" b="1" kern="1200" err="1"/>
            <a:t>Individual</a:t>
          </a:r>
          <a:r>
            <a:rPr lang="fr-LU" sz="900" b="1" kern="1200"/>
            <a:t> </a:t>
          </a:r>
          <a:r>
            <a:rPr lang="fr-LU" sz="900" b="1" kern="1200" err="1"/>
            <a:t>skills</a:t>
          </a:r>
          <a:r>
            <a:rPr lang="fr-LU" sz="900" b="1" kern="1200"/>
            <a:t> and </a:t>
          </a:r>
          <a:r>
            <a:rPr lang="fr-LU" sz="900" b="1" kern="1200" err="1"/>
            <a:t>abilities</a:t>
          </a:r>
          <a:endParaRPr lang="fr-LU" sz="900" b="1" kern="1200"/>
        </a:p>
        <a:p>
          <a:pPr marL="0" lvl="0" indent="0" algn="ctr" defTabSz="400050">
            <a:lnSpc>
              <a:spcPct val="90000"/>
            </a:lnSpc>
            <a:spcBef>
              <a:spcPct val="0"/>
            </a:spcBef>
            <a:spcAft>
              <a:spcPct val="35000"/>
            </a:spcAft>
            <a:buNone/>
          </a:pPr>
          <a:r>
            <a:rPr lang="fr-LU" sz="900" kern="1200"/>
            <a:t>(</a:t>
          </a:r>
          <a:r>
            <a:rPr lang="fr-LU" sz="900" kern="1200" err="1"/>
            <a:t>knowledge</a:t>
          </a:r>
          <a:r>
            <a:rPr lang="fr-LU" sz="900" kern="1200"/>
            <a:t>, </a:t>
          </a:r>
          <a:r>
            <a:rPr lang="fr-LU" sz="900" kern="1200" err="1"/>
            <a:t>experience</a:t>
          </a:r>
          <a:r>
            <a:rPr lang="fr-LU" sz="900" kern="1200"/>
            <a:t>, stress handling …)</a:t>
          </a:r>
        </a:p>
      </dsp:txBody>
      <dsp:txXfrm>
        <a:off x="2533483" y="4425276"/>
        <a:ext cx="3084939" cy="5844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indent="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9532081" y="2557684"/>
        <a:ext cx="1558759" cy="30749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indent="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9532081" y="2557684"/>
        <a:ext cx="1558759" cy="30749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indent="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9532081" y="2557684"/>
        <a:ext cx="1558759" cy="307497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069AAE-302B-4B5B-A341-FF55B430050E}">
      <dsp:nvSpPr>
        <dsp:cNvPr id="0" name=""/>
        <dsp:cNvSpPr/>
      </dsp:nvSpPr>
      <dsp:spPr>
        <a:xfrm>
          <a:off x="7289" y="1075729"/>
          <a:ext cx="1401648" cy="1401648"/>
        </a:xfrm>
        <a:prstGeom prst="ellipse">
          <a:avLst/>
        </a:prstGeom>
        <a:solidFill>
          <a:srgbClr val="00B0F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fr-LU" sz="1800" b="1" kern="1200"/>
            <a:t>Our actions</a:t>
          </a:r>
        </a:p>
      </dsp:txBody>
      <dsp:txXfrm>
        <a:off x="203015" y="1241013"/>
        <a:ext cx="808157" cy="1071079"/>
      </dsp:txXfrm>
    </dsp:sp>
    <dsp:sp modelId="{6D6978D9-6953-4D83-8ECA-B21823E215CF}">
      <dsp:nvSpPr>
        <dsp:cNvPr id="0" name=""/>
        <dsp:cNvSpPr/>
      </dsp:nvSpPr>
      <dsp:spPr>
        <a:xfrm>
          <a:off x="7290" y="102536"/>
          <a:ext cx="1401648" cy="1401648"/>
        </a:xfrm>
        <a:prstGeom prst="ellipse">
          <a:avLst/>
        </a:prstGeom>
        <a:solidFill>
          <a:srgbClr val="FFFF0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fr-LU" sz="1800" b="1" kern="1200" err="1"/>
            <a:t>Their</a:t>
          </a:r>
          <a:r>
            <a:rPr lang="fr-LU" sz="1800" b="1" kern="1200"/>
            <a:t> actions</a:t>
          </a:r>
        </a:p>
      </dsp:txBody>
      <dsp:txXfrm>
        <a:off x="405055" y="267820"/>
        <a:ext cx="808157" cy="10710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C82A34-87EF-4C30-9FC1-19B5ACE2FB23}">
      <dsp:nvSpPr>
        <dsp:cNvPr id="0" name=""/>
        <dsp:cNvSpPr/>
      </dsp:nvSpPr>
      <dsp:spPr>
        <a:xfrm>
          <a:off x="887124" y="17240"/>
          <a:ext cx="568898" cy="5688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LU" sz="900" b="1" kern="1200" dirty="0" err="1"/>
            <a:t>Decisions</a:t>
          </a:r>
          <a:endParaRPr lang="fr-LU" sz="900" b="1" kern="1200" dirty="0"/>
        </a:p>
      </dsp:txBody>
      <dsp:txXfrm>
        <a:off x="887124" y="17240"/>
        <a:ext cx="568898" cy="568898"/>
      </dsp:txXfrm>
    </dsp:sp>
    <dsp:sp modelId="{F8E6A1AE-5184-4DE9-AAE4-EF09422397B1}">
      <dsp:nvSpPr>
        <dsp:cNvPr id="0" name=""/>
        <dsp:cNvSpPr/>
      </dsp:nvSpPr>
      <dsp:spPr>
        <a:xfrm>
          <a:off x="660721" y="507"/>
          <a:ext cx="2135839" cy="2135839"/>
        </a:xfrm>
        <a:prstGeom prst="leftCircularArrow">
          <a:avLst>
            <a:gd name="adj1" fmla="val 5194"/>
            <a:gd name="adj2" fmla="val 335463"/>
            <a:gd name="adj3" fmla="val 11104926"/>
            <a:gd name="adj4" fmla="val 12635367"/>
            <a:gd name="adj5" fmla="val 606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44AAA0-5358-4C25-9F2F-251AE30A2FB0}">
      <dsp:nvSpPr>
        <dsp:cNvPr id="0" name=""/>
        <dsp:cNvSpPr/>
      </dsp:nvSpPr>
      <dsp:spPr>
        <a:xfrm>
          <a:off x="542837" y="1076845"/>
          <a:ext cx="568898" cy="5688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LU" sz="900" b="1" kern="1200" dirty="0"/>
            <a:t>Missions</a:t>
          </a:r>
        </a:p>
      </dsp:txBody>
      <dsp:txXfrm>
        <a:off x="542837" y="1076845"/>
        <a:ext cx="568898" cy="568898"/>
      </dsp:txXfrm>
    </dsp:sp>
    <dsp:sp modelId="{AAFA74F6-A4F6-4A30-BDAD-772B17B979C1}">
      <dsp:nvSpPr>
        <dsp:cNvPr id="0" name=""/>
        <dsp:cNvSpPr/>
      </dsp:nvSpPr>
      <dsp:spPr>
        <a:xfrm>
          <a:off x="660721" y="507"/>
          <a:ext cx="2135839" cy="2135839"/>
        </a:xfrm>
        <a:prstGeom prst="leftCircularArrow">
          <a:avLst>
            <a:gd name="adj1" fmla="val 5194"/>
            <a:gd name="adj2" fmla="val 335463"/>
            <a:gd name="adj3" fmla="val 6783403"/>
            <a:gd name="adj4" fmla="val 8548311"/>
            <a:gd name="adj5" fmla="val 606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347E55-FC11-44F4-9B44-C12A1D354235}">
      <dsp:nvSpPr>
        <dsp:cNvPr id="0" name=""/>
        <dsp:cNvSpPr/>
      </dsp:nvSpPr>
      <dsp:spPr>
        <a:xfrm>
          <a:off x="1444191" y="1731718"/>
          <a:ext cx="568898" cy="5688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fr-LU" sz="800" b="1" kern="1200" dirty="0"/>
            <a:t>Operations</a:t>
          </a:r>
          <a:endParaRPr lang="fr-LU" sz="900" b="1" kern="1200" dirty="0"/>
        </a:p>
      </dsp:txBody>
      <dsp:txXfrm>
        <a:off x="1444191" y="1731718"/>
        <a:ext cx="568898" cy="568898"/>
      </dsp:txXfrm>
    </dsp:sp>
    <dsp:sp modelId="{C2D140C6-2A4D-49C8-B9F1-42A23868DC20}">
      <dsp:nvSpPr>
        <dsp:cNvPr id="0" name=""/>
        <dsp:cNvSpPr/>
      </dsp:nvSpPr>
      <dsp:spPr>
        <a:xfrm>
          <a:off x="660721" y="507"/>
          <a:ext cx="2135839" cy="2135839"/>
        </a:xfrm>
        <a:prstGeom prst="leftCircularArrow">
          <a:avLst>
            <a:gd name="adj1" fmla="val 5194"/>
            <a:gd name="adj2" fmla="val 335463"/>
            <a:gd name="adj3" fmla="val 2587152"/>
            <a:gd name="adj4" fmla="val 4352060"/>
            <a:gd name="adj5" fmla="val 606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10106B-98C0-4755-B6AA-87E17EAC0E0F}">
      <dsp:nvSpPr>
        <dsp:cNvPr id="0" name=""/>
        <dsp:cNvSpPr/>
      </dsp:nvSpPr>
      <dsp:spPr>
        <a:xfrm>
          <a:off x="2345546" y="1076845"/>
          <a:ext cx="568898" cy="5688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LU" sz="900" b="1" kern="1200"/>
            <a:t>Feedback</a:t>
          </a:r>
        </a:p>
      </dsp:txBody>
      <dsp:txXfrm>
        <a:off x="2345546" y="1076845"/>
        <a:ext cx="568898" cy="568898"/>
      </dsp:txXfrm>
    </dsp:sp>
    <dsp:sp modelId="{F2F1F96A-38AE-4FEA-B640-226991734723}">
      <dsp:nvSpPr>
        <dsp:cNvPr id="0" name=""/>
        <dsp:cNvSpPr/>
      </dsp:nvSpPr>
      <dsp:spPr>
        <a:xfrm>
          <a:off x="660721" y="507"/>
          <a:ext cx="2135839" cy="2135839"/>
        </a:xfrm>
        <a:prstGeom prst="leftCircularArrow">
          <a:avLst>
            <a:gd name="adj1" fmla="val 5194"/>
            <a:gd name="adj2" fmla="val 335463"/>
            <a:gd name="adj3" fmla="val 20100097"/>
            <a:gd name="adj4" fmla="val 30537"/>
            <a:gd name="adj5" fmla="val 606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B0754D-50B0-43E6-95C0-0CF3C99967F6}">
      <dsp:nvSpPr>
        <dsp:cNvPr id="0" name=""/>
        <dsp:cNvSpPr/>
      </dsp:nvSpPr>
      <dsp:spPr>
        <a:xfrm>
          <a:off x="2001259" y="17240"/>
          <a:ext cx="568898" cy="5688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LU" sz="900" b="1" kern="1200" err="1"/>
            <a:t>Strategy</a:t>
          </a:r>
          <a:endParaRPr lang="fr-LU" sz="900" b="1" kern="1200"/>
        </a:p>
      </dsp:txBody>
      <dsp:txXfrm>
        <a:off x="2001259" y="17240"/>
        <a:ext cx="568898" cy="568898"/>
      </dsp:txXfrm>
    </dsp:sp>
    <dsp:sp modelId="{45EC16D3-6D45-4B48-9665-5BA297BF4E22}">
      <dsp:nvSpPr>
        <dsp:cNvPr id="0" name=""/>
        <dsp:cNvSpPr/>
      </dsp:nvSpPr>
      <dsp:spPr>
        <a:xfrm>
          <a:off x="660721" y="507"/>
          <a:ext cx="2135839" cy="2135839"/>
        </a:xfrm>
        <a:prstGeom prst="leftCircularArrow">
          <a:avLst>
            <a:gd name="adj1" fmla="val 5194"/>
            <a:gd name="adj2" fmla="val 335463"/>
            <a:gd name="adj3" fmla="val 15532420"/>
            <a:gd name="adj4" fmla="val 17203043"/>
            <a:gd name="adj5" fmla="val 6060"/>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C82A34-87EF-4C30-9FC1-19B5ACE2FB23}">
      <dsp:nvSpPr>
        <dsp:cNvPr id="0" name=""/>
        <dsp:cNvSpPr/>
      </dsp:nvSpPr>
      <dsp:spPr>
        <a:xfrm>
          <a:off x="2024360" y="170036"/>
          <a:ext cx="867696" cy="867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LU" sz="1100" b="1" kern="1200" dirty="0"/>
            <a:t>Ressources</a:t>
          </a:r>
          <a:endParaRPr lang="fr-LU" sz="1200" b="1" kern="1200" dirty="0"/>
        </a:p>
      </dsp:txBody>
      <dsp:txXfrm>
        <a:off x="2024360" y="170036"/>
        <a:ext cx="867696" cy="867696"/>
      </dsp:txXfrm>
    </dsp:sp>
    <dsp:sp modelId="{F8E6A1AE-5184-4DE9-AAE4-EF09422397B1}">
      <dsp:nvSpPr>
        <dsp:cNvPr id="0" name=""/>
        <dsp:cNvSpPr/>
      </dsp:nvSpPr>
      <dsp:spPr>
        <a:xfrm>
          <a:off x="702907" y="-631"/>
          <a:ext cx="2051466" cy="2051466"/>
        </a:xfrm>
        <a:prstGeom prst="circularArrow">
          <a:avLst>
            <a:gd name="adj1" fmla="val 8248"/>
            <a:gd name="adj2" fmla="val 576061"/>
            <a:gd name="adj3" fmla="val 2964113"/>
            <a:gd name="adj4" fmla="val 51550"/>
            <a:gd name="adj5" fmla="val 9622"/>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EE3E518-C29D-40B9-801A-B6EF6818A3B0}">
      <dsp:nvSpPr>
        <dsp:cNvPr id="0" name=""/>
        <dsp:cNvSpPr/>
      </dsp:nvSpPr>
      <dsp:spPr>
        <a:xfrm>
          <a:off x="1294792" y="1433685"/>
          <a:ext cx="867696" cy="867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LU" sz="1100" b="1" kern="1200" err="1"/>
            <a:t>Knowledge</a:t>
          </a:r>
          <a:endParaRPr lang="fr-LU" sz="1100" b="1" kern="1200"/>
        </a:p>
      </dsp:txBody>
      <dsp:txXfrm>
        <a:off x="1294792" y="1433685"/>
        <a:ext cx="867696" cy="867696"/>
      </dsp:txXfrm>
    </dsp:sp>
    <dsp:sp modelId="{3E99F8D9-F24A-4AD8-8B3A-1358072CD11C}">
      <dsp:nvSpPr>
        <dsp:cNvPr id="0" name=""/>
        <dsp:cNvSpPr/>
      </dsp:nvSpPr>
      <dsp:spPr>
        <a:xfrm>
          <a:off x="702907" y="-631"/>
          <a:ext cx="2051466" cy="2051466"/>
        </a:xfrm>
        <a:prstGeom prst="circularArrow">
          <a:avLst>
            <a:gd name="adj1" fmla="val 8248"/>
            <a:gd name="adj2" fmla="val 576061"/>
            <a:gd name="adj3" fmla="val 10172389"/>
            <a:gd name="adj4" fmla="val 7259827"/>
            <a:gd name="adj5" fmla="val 9622"/>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ABA0D0-371B-49DD-BD81-F6C878B6FF85}">
      <dsp:nvSpPr>
        <dsp:cNvPr id="0" name=""/>
        <dsp:cNvSpPr/>
      </dsp:nvSpPr>
      <dsp:spPr>
        <a:xfrm>
          <a:off x="565224" y="170036"/>
          <a:ext cx="867696" cy="867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LU" sz="1100" b="1" kern="1200" dirty="0" err="1"/>
            <a:t>Means</a:t>
          </a:r>
          <a:endParaRPr lang="fr-LU" sz="1100" b="1" kern="1200" dirty="0"/>
        </a:p>
      </dsp:txBody>
      <dsp:txXfrm>
        <a:off x="565224" y="170036"/>
        <a:ext cx="867696" cy="867696"/>
      </dsp:txXfrm>
    </dsp:sp>
    <dsp:sp modelId="{C69822BA-8EAA-4960-8B86-29F3C718D645}">
      <dsp:nvSpPr>
        <dsp:cNvPr id="0" name=""/>
        <dsp:cNvSpPr/>
      </dsp:nvSpPr>
      <dsp:spPr>
        <a:xfrm>
          <a:off x="702907" y="-631"/>
          <a:ext cx="2051466" cy="2051466"/>
        </a:xfrm>
        <a:prstGeom prst="circularArrow">
          <a:avLst>
            <a:gd name="adj1" fmla="val 8248"/>
            <a:gd name="adj2" fmla="val 576061"/>
            <a:gd name="adj3" fmla="val 16856961"/>
            <a:gd name="adj4" fmla="val 14966978"/>
            <a:gd name="adj5" fmla="val 9622"/>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1277FA-A034-4765-A410-D3BCE1394D18}">
      <dsp:nvSpPr>
        <dsp:cNvPr id="0" name=""/>
        <dsp:cNvSpPr/>
      </dsp:nvSpPr>
      <dsp:spPr>
        <a:xfrm>
          <a:off x="1021480" y="-3593"/>
          <a:ext cx="5253045" cy="5253045"/>
        </a:xfrm>
        <a:prstGeom prst="circularArrow">
          <a:avLst>
            <a:gd name="adj1" fmla="val 5274"/>
            <a:gd name="adj2" fmla="val 312630"/>
            <a:gd name="adj3" fmla="val 14241872"/>
            <a:gd name="adj4" fmla="val 17118982"/>
            <a:gd name="adj5" fmla="val 5477"/>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46403D-F134-4BF4-ACAB-B3910FA60C24}">
      <dsp:nvSpPr>
        <dsp:cNvPr id="0" name=""/>
        <dsp:cNvSpPr/>
      </dsp:nvSpPr>
      <dsp:spPr>
        <a:xfrm>
          <a:off x="2657198" y="3054"/>
          <a:ext cx="1981608" cy="99080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LU" sz="2400" kern="1200"/>
            <a:t>Cultural </a:t>
          </a:r>
          <a:r>
            <a:rPr lang="fr-LU" sz="2400" kern="1200" err="1"/>
            <a:t>principles</a:t>
          </a:r>
          <a:endParaRPr lang="fr-LU" sz="2400" kern="1200"/>
        </a:p>
      </dsp:txBody>
      <dsp:txXfrm>
        <a:off x="2705565" y="51421"/>
        <a:ext cx="1884874" cy="894070"/>
      </dsp:txXfrm>
    </dsp:sp>
    <dsp:sp modelId="{08DAD377-EE23-4652-A930-C332EDFE6479}">
      <dsp:nvSpPr>
        <dsp:cNvPr id="0" name=""/>
        <dsp:cNvSpPr/>
      </dsp:nvSpPr>
      <dsp:spPr>
        <a:xfrm>
          <a:off x="4502744" y="1068581"/>
          <a:ext cx="1981608" cy="99080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LU" sz="2400" kern="1200" err="1"/>
            <a:t>Procedural</a:t>
          </a:r>
          <a:r>
            <a:rPr lang="fr-LU" sz="2400" kern="1200"/>
            <a:t> </a:t>
          </a:r>
          <a:r>
            <a:rPr lang="fr-LU" sz="2400" kern="1200" err="1"/>
            <a:t>means</a:t>
          </a:r>
          <a:endParaRPr lang="fr-LU" sz="2400" kern="1200"/>
        </a:p>
      </dsp:txBody>
      <dsp:txXfrm>
        <a:off x="4551111" y="1116948"/>
        <a:ext cx="1884874" cy="894070"/>
      </dsp:txXfrm>
    </dsp:sp>
    <dsp:sp modelId="{060593BF-6D06-4371-8433-96E65B2DD0CF}">
      <dsp:nvSpPr>
        <dsp:cNvPr id="0" name=""/>
        <dsp:cNvSpPr/>
      </dsp:nvSpPr>
      <dsp:spPr>
        <a:xfrm>
          <a:off x="4502744" y="3199634"/>
          <a:ext cx="1981608" cy="99080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LU" sz="2400" kern="1200"/>
            <a:t>Motivation </a:t>
          </a:r>
          <a:r>
            <a:rPr lang="fr-LU" sz="2400" kern="1200" err="1"/>
            <a:t>enablers</a:t>
          </a:r>
          <a:r>
            <a:rPr lang="fr-LU" sz="2400" kern="1200"/>
            <a:t> and </a:t>
          </a:r>
          <a:r>
            <a:rPr lang="fr-LU" sz="2400" kern="1200" err="1"/>
            <a:t>barriers</a:t>
          </a:r>
          <a:endParaRPr lang="fr-LU" sz="2400" kern="1200"/>
        </a:p>
      </dsp:txBody>
      <dsp:txXfrm>
        <a:off x="4551111" y="3248001"/>
        <a:ext cx="1884874" cy="894070"/>
      </dsp:txXfrm>
    </dsp:sp>
    <dsp:sp modelId="{C1128A28-E4E8-4114-A86C-43290BD8462D}">
      <dsp:nvSpPr>
        <dsp:cNvPr id="0" name=""/>
        <dsp:cNvSpPr/>
      </dsp:nvSpPr>
      <dsp:spPr>
        <a:xfrm>
          <a:off x="2657198" y="4265160"/>
          <a:ext cx="1981608" cy="99080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LU" sz="2400" kern="1200" err="1"/>
            <a:t>Health</a:t>
          </a:r>
          <a:endParaRPr lang="fr-LU" sz="2400" kern="1200"/>
        </a:p>
      </dsp:txBody>
      <dsp:txXfrm>
        <a:off x="2705565" y="4313527"/>
        <a:ext cx="1884874" cy="894070"/>
      </dsp:txXfrm>
    </dsp:sp>
    <dsp:sp modelId="{ECB96FC3-7889-478C-8F23-FB3DB381439F}">
      <dsp:nvSpPr>
        <dsp:cNvPr id="0" name=""/>
        <dsp:cNvSpPr/>
      </dsp:nvSpPr>
      <dsp:spPr>
        <a:xfrm>
          <a:off x="724897" y="3199634"/>
          <a:ext cx="2155118" cy="99080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LU" sz="2400" kern="1200"/>
            <a:t>Cognitive </a:t>
          </a:r>
          <a:r>
            <a:rPr lang="fr-LU" sz="2400" kern="1200" err="1"/>
            <a:t>mechanisms</a:t>
          </a:r>
          <a:r>
            <a:rPr lang="fr-LU" sz="2400" kern="1200"/>
            <a:t> </a:t>
          </a:r>
        </a:p>
      </dsp:txBody>
      <dsp:txXfrm>
        <a:off x="773264" y="3248001"/>
        <a:ext cx="2058384" cy="894070"/>
      </dsp:txXfrm>
    </dsp:sp>
    <dsp:sp modelId="{B869E16B-30C7-40CB-86E3-551FB29D3F86}">
      <dsp:nvSpPr>
        <dsp:cNvPr id="0" name=""/>
        <dsp:cNvSpPr/>
      </dsp:nvSpPr>
      <dsp:spPr>
        <a:xfrm>
          <a:off x="724055" y="1068581"/>
          <a:ext cx="2156802" cy="99080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LU" sz="2400" kern="1200"/>
            <a:t>Organisation </a:t>
          </a:r>
          <a:r>
            <a:rPr lang="fr-LU" sz="2400" kern="1200" err="1"/>
            <a:t>schems</a:t>
          </a:r>
          <a:endParaRPr lang="fr-LU" sz="2400" kern="1200"/>
        </a:p>
      </dsp:txBody>
      <dsp:txXfrm>
        <a:off x="772422" y="1116948"/>
        <a:ext cx="2060068" cy="894070"/>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10.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F1F6B0-75B9-4CDD-B17A-51041BD4C1B2}" type="datetimeFigureOut">
              <a:rPr lang="en-GB" smtClean="0"/>
              <a:t>1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0D0764-102A-4644-BA60-541903CDA254}" type="slidenum">
              <a:rPr lang="en-GB" smtClean="0"/>
              <a:t>‹#›</a:t>
            </a:fld>
            <a:endParaRPr lang="en-GB"/>
          </a:p>
        </p:txBody>
      </p:sp>
    </p:spTree>
    <p:extLst>
      <p:ext uri="{BB962C8B-B14F-4D97-AF65-F5344CB8AC3E}">
        <p14:creationId xmlns:p14="http://schemas.microsoft.com/office/powerpoint/2010/main" val="4195539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3</a:t>
            </a:fld>
            <a:endParaRPr lang="en-GB"/>
          </a:p>
        </p:txBody>
      </p:sp>
    </p:spTree>
    <p:extLst>
      <p:ext uri="{BB962C8B-B14F-4D97-AF65-F5344CB8AC3E}">
        <p14:creationId xmlns:p14="http://schemas.microsoft.com/office/powerpoint/2010/main" val="2429660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4</a:t>
            </a:fld>
            <a:endParaRPr lang="en-GB"/>
          </a:p>
        </p:txBody>
      </p:sp>
    </p:spTree>
    <p:extLst>
      <p:ext uri="{BB962C8B-B14F-4D97-AF65-F5344CB8AC3E}">
        <p14:creationId xmlns:p14="http://schemas.microsoft.com/office/powerpoint/2010/main" val="35093302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6</a:t>
            </a:fld>
            <a:endParaRPr lang="en-GB"/>
          </a:p>
        </p:txBody>
      </p:sp>
    </p:spTree>
    <p:extLst>
      <p:ext uri="{BB962C8B-B14F-4D97-AF65-F5344CB8AC3E}">
        <p14:creationId xmlns:p14="http://schemas.microsoft.com/office/powerpoint/2010/main" val="3887243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B8B26E-90DD-4F75-9543-DF10C34D64F7}" type="slidenum">
              <a:rPr kumimoji="0" lang="de-DE" sz="1200" b="0"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DB Sans"/>
              <a:ea typeface="+mn-ea"/>
              <a:cs typeface="+mn-cs"/>
            </a:endParaRPr>
          </a:p>
        </p:txBody>
      </p:sp>
    </p:spTree>
    <p:extLst>
      <p:ext uri="{BB962C8B-B14F-4D97-AF65-F5344CB8AC3E}">
        <p14:creationId xmlns:p14="http://schemas.microsoft.com/office/powerpoint/2010/main" val="1817087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B8B26E-90DD-4F75-9543-DF10C34D64F7}" type="slidenum">
              <a:rPr kumimoji="0" lang="de-DE" sz="1200" b="0"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DB Sans"/>
              <a:ea typeface="+mn-ea"/>
              <a:cs typeface="+mn-cs"/>
            </a:endParaRPr>
          </a:p>
        </p:txBody>
      </p:sp>
    </p:spTree>
    <p:extLst>
      <p:ext uri="{BB962C8B-B14F-4D97-AF65-F5344CB8AC3E}">
        <p14:creationId xmlns:p14="http://schemas.microsoft.com/office/powerpoint/2010/main" val="3307469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B8B26E-90DD-4F75-9543-DF10C34D64F7}" type="slidenum">
              <a:rPr kumimoji="0" lang="de-DE" sz="1200" b="0"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DB Sans"/>
              <a:ea typeface="+mn-ea"/>
              <a:cs typeface="+mn-cs"/>
            </a:endParaRPr>
          </a:p>
        </p:txBody>
      </p:sp>
    </p:spTree>
    <p:extLst>
      <p:ext uri="{BB962C8B-B14F-4D97-AF65-F5344CB8AC3E}">
        <p14:creationId xmlns:p14="http://schemas.microsoft.com/office/powerpoint/2010/main" val="25423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17</a:t>
            </a:fld>
            <a:endParaRPr lang="en-GB"/>
          </a:p>
        </p:txBody>
      </p:sp>
    </p:spTree>
    <p:extLst>
      <p:ext uri="{BB962C8B-B14F-4D97-AF65-F5344CB8AC3E}">
        <p14:creationId xmlns:p14="http://schemas.microsoft.com/office/powerpoint/2010/main" val="3930427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5.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5181600"/>
          </a:xfrm>
          <a:prstGeom prst="rect">
            <a:avLst/>
          </a:prstGeom>
          <a:solidFill>
            <a:srgbClr val="00449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8" name="Picture 7" descr="backgorund-CV.png"/>
          <p:cNvPicPr>
            <a:picLocks noChangeAspect="1"/>
          </p:cNvPicPr>
          <p:nvPr userDrawn="1"/>
        </p:nvPicPr>
        <p:blipFill rotWithShape="1">
          <a:blip r:embed="rId2" cstate="print">
            <a:extLst>
              <a:ext uri="{28A0092B-C50C-407E-A947-70E740481C1C}">
                <a14:useLocalDpi xmlns:a14="http://schemas.microsoft.com/office/drawing/2010/main" val="0"/>
              </a:ext>
            </a:extLst>
          </a:blip>
          <a:srcRect b="7156"/>
          <a:stretch/>
        </p:blipFill>
        <p:spPr>
          <a:xfrm>
            <a:off x="-13547" y="2695074"/>
            <a:ext cx="12205547" cy="4162926"/>
          </a:xfrm>
          <a:prstGeom prst="rect">
            <a:avLst/>
          </a:prstGeom>
        </p:spPr>
      </p:pic>
      <p:sp>
        <p:nvSpPr>
          <p:cNvPr id="2" name="Title 1"/>
          <p:cNvSpPr>
            <a:spLocks noGrp="1"/>
          </p:cNvSpPr>
          <p:nvPr>
            <p:ph type="ctrTitle"/>
          </p:nvPr>
        </p:nvSpPr>
        <p:spPr>
          <a:xfrm>
            <a:off x="1375719" y="1573426"/>
            <a:ext cx="9144000" cy="814173"/>
          </a:xfrm>
        </p:spPr>
        <p:txBody>
          <a:bodyPr anchor="b">
            <a:normAutofit/>
          </a:bodyPr>
          <a:lstStyle>
            <a:lvl1pPr algn="l">
              <a:defRPr sz="3200" baseline="0">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1375719" y="2397919"/>
            <a:ext cx="9144000" cy="542989"/>
          </a:xfrm>
        </p:spPr>
        <p:txBody>
          <a:bodyPr>
            <a:normAutofit/>
          </a:bodyPr>
          <a:lstStyle>
            <a:lvl1pPr marL="0" indent="0" algn="l">
              <a:buNone/>
              <a:defRPr sz="2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8514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Text">
    <p:bg>
      <p:bgPr>
        <a:solidFill>
          <a:schemeClr val="tx2"/>
        </a:solidFill>
        <a:effectLst/>
      </p:bgPr>
    </p:bg>
    <p:spTree>
      <p:nvGrpSpPr>
        <p:cNvPr id="1" name=""/>
        <p:cNvGrpSpPr/>
        <p:nvPr/>
      </p:nvGrpSpPr>
      <p:grpSpPr>
        <a:xfrm>
          <a:off x="0" y="0"/>
          <a:ext cx="0" cy="0"/>
          <a:chOff x="0" y="0"/>
          <a:chExt cx="0" cy="0"/>
        </a:xfrm>
      </p:grpSpPr>
      <p:sp>
        <p:nvSpPr>
          <p:cNvPr id="9" name="Tijdelijke aanduiding voor dianummer 5">
            <a:extLst>
              <a:ext uri="{FF2B5EF4-FFF2-40B4-BE49-F238E27FC236}">
                <a16:creationId xmlns:a16="http://schemas.microsoft.com/office/drawing/2014/main" id="{71FAD9FF-DCB0-7A4C-BC0D-214903CE75F2}"/>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666572" y="1779340"/>
            <a:ext cx="10858858" cy="4518909"/>
          </a:xfrm>
          <a:prstGeom prst="rect">
            <a:avLst/>
          </a:prstGeom>
        </p:spPr>
        <p:txBody>
          <a:bodyPr/>
          <a:lstStyle>
            <a:lvl1pPr marL="0" indent="0" algn="l">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959488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 List">
    <p:bg>
      <p:bgPr>
        <a:solidFill>
          <a:schemeClr val="tx2"/>
        </a:solidFill>
        <a:effectLst/>
      </p:bgPr>
    </p:bg>
    <p:spTree>
      <p:nvGrpSpPr>
        <p:cNvPr id="1" name=""/>
        <p:cNvGrpSpPr/>
        <p:nvPr/>
      </p:nvGrpSpPr>
      <p:grpSpPr>
        <a:xfrm>
          <a:off x="0" y="0"/>
          <a:ext cx="0" cy="0"/>
          <a:chOff x="0" y="0"/>
          <a:chExt cx="0" cy="0"/>
        </a:xfrm>
      </p:grpSpPr>
      <p:sp>
        <p:nvSpPr>
          <p:cNvPr id="10" name="Tijdelijke aanduiding voor dianummer 5">
            <a:extLst>
              <a:ext uri="{FF2B5EF4-FFF2-40B4-BE49-F238E27FC236}">
                <a16:creationId xmlns:a16="http://schemas.microsoft.com/office/drawing/2014/main" id="{08F3A2BC-D0BC-C747-AA3B-0FF2A563BD5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2"/>
          <p:cNvSpPr>
            <a:spLocks noGrp="1"/>
          </p:cNvSpPr>
          <p:nvPr>
            <p:ph type="body" sz="quarter" idx="22"/>
          </p:nvPr>
        </p:nvSpPr>
        <p:spPr>
          <a:xfrm>
            <a:off x="666572" y="1779342"/>
            <a:ext cx="5137821"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2"/>
          <p:cNvSpPr>
            <a:spLocks noGrp="1"/>
          </p:cNvSpPr>
          <p:nvPr>
            <p:ph type="body" sz="quarter" idx="24"/>
          </p:nvPr>
        </p:nvSpPr>
        <p:spPr>
          <a:xfrm>
            <a:off x="6378844" y="1779342"/>
            <a:ext cx="5146586"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622863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bject + Title + Tex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6378844" y="1786070"/>
            <a:ext cx="5146585" cy="451217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766763" y="845232"/>
            <a:ext cx="4726425" cy="5576836"/>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1351926553"/>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bject + Title + Text 2">
    <p:bg>
      <p:bgPr>
        <a:solidFill>
          <a:schemeClr val="tx2"/>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41D8F43-F467-6241-A72E-B8BAA3607734}"/>
              </a:ext>
            </a:extLst>
          </p:cNvPr>
          <p:cNvSpPr>
            <a:spLocks noGrp="1"/>
          </p:cNvSpPr>
          <p:nvPr>
            <p:ph sz="quarter" idx="16"/>
          </p:nvPr>
        </p:nvSpPr>
        <p:spPr>
          <a:xfrm>
            <a:off x="0" y="44892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2" name="Tijdelijke aanduiding voor dianummer 5">
            <a:extLst>
              <a:ext uri="{FF2B5EF4-FFF2-40B4-BE49-F238E27FC236}">
                <a16:creationId xmlns:a16="http://schemas.microsoft.com/office/drawing/2014/main" id="{F0E76C92-10B1-5746-8A5B-50335A73238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pic>
        <p:nvPicPr>
          <p:cNvPr id="8"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sp>
        <p:nvSpPr>
          <p:cNvPr id="15"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10" name="Text Placeholder 2"/>
          <p:cNvSpPr>
            <a:spLocks noGrp="1"/>
          </p:cNvSpPr>
          <p:nvPr>
            <p:ph type="body" sz="quarter" idx="20"/>
          </p:nvPr>
        </p:nvSpPr>
        <p:spPr>
          <a:xfrm>
            <a:off x="6378844"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4523142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Text + Objec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766763" y="1786070"/>
            <a:ext cx="5146585" cy="4520725"/>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6806763" y="845232"/>
            <a:ext cx="4726425" cy="5587398"/>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790604855"/>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Text + Object 2">
    <p:bg>
      <p:bgPr>
        <a:solidFill>
          <a:schemeClr val="tx2"/>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FCB18433-8BE9-BB40-A990-BEE1341FD4D5}"/>
              </a:ext>
            </a:extLst>
          </p:cNvPr>
          <p:cNvSpPr>
            <a:spLocks noGrp="1"/>
          </p:cNvSpPr>
          <p:nvPr>
            <p:ph sz="quarter" idx="16"/>
          </p:nvPr>
        </p:nvSpPr>
        <p:spPr>
          <a:xfrm>
            <a:off x="6538912" y="-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3DC0EF3F-9C1C-A547-8D7D-17031E94253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766763"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063416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Dark">
    <p:bg>
      <p:bgPr>
        <a:solidFill>
          <a:schemeClr val="bg2"/>
        </a:solidFill>
        <a:effectLst/>
      </p:bgPr>
    </p:bg>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A5350FA6-7A12-8242-BC1E-5B8101F363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10" name="Afbeelding 9">
            <a:extLst>
              <a:ext uri="{FF2B5EF4-FFF2-40B4-BE49-F238E27FC236}">
                <a16:creationId xmlns:a16="http://schemas.microsoft.com/office/drawing/2014/main" id="{5552E9BE-C5B0-2243-9B17-5CE4F5BEBD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BE" b="1" i="0">
              <a:latin typeface="Calibri" panose="020F0502020204030204" pitchFamily="34" charset="0"/>
              <a:cs typeface="Calibri" panose="020F0502020204030204" pitchFamily="34" charset="0"/>
            </a:endParaRPr>
          </a:p>
        </p:txBody>
      </p:sp>
      <p:sp>
        <p:nvSpPr>
          <p:cNvPr id="5" name="Text Placeholder 2"/>
          <p:cNvSpPr>
            <a:spLocks noGrp="1"/>
          </p:cNvSpPr>
          <p:nvPr>
            <p:ph type="body" sz="quarter" idx="10" hasCustomPrompt="1"/>
          </p:nvPr>
        </p:nvSpPr>
        <p:spPr>
          <a:xfrm>
            <a:off x="1306798" y="1306800"/>
            <a:ext cx="9300878" cy="4244400"/>
          </a:xfrm>
          <a:prstGeom prst="rect">
            <a:avLst/>
          </a:prstGeom>
        </p:spPr>
        <p:txBody>
          <a:bodyPr anchor="ctr"/>
          <a:lstStyle>
            <a:lvl1pPr marL="0" indent="0">
              <a:buNone/>
              <a:defRPr sz="4800">
                <a:solidFill>
                  <a:schemeClr val="bg1"/>
                </a:solidFill>
              </a:defRPr>
            </a:lvl1pPr>
          </a:lstStyle>
          <a:p>
            <a:r>
              <a:rPr lang="nl-BE" b="1" i="0" err="1">
                <a:latin typeface="Calibri" panose="020F0502020204030204" pitchFamily="34" charset="0"/>
                <a:cs typeface="Calibri" panose="020F0502020204030204" pitchFamily="34" charset="0"/>
              </a:rPr>
              <a:t>Your</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closing</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phras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72080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Dark + Text NL">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a:latin typeface="Calibri" panose="020F0502020204030204" pitchFamily="34" charset="0"/>
                <a:cs typeface="Calibri" panose="020F0502020204030204" pitchFamily="34" charset="0"/>
              </a:rPr>
              <a:t>Ontwikkelt </a:t>
            </a:r>
          </a:p>
          <a:p>
            <a:r>
              <a:rPr lang="nl-BE" b="1" i="0">
                <a:latin typeface="Calibri" panose="020F0502020204030204" pitchFamily="34" charset="0"/>
                <a:cs typeface="Calibri" panose="020F0502020204030204" pitchFamily="34" charset="0"/>
              </a:rPr>
              <a:t>Faciliteert </a:t>
            </a:r>
          </a:p>
          <a:p>
            <a:r>
              <a:rPr lang="nl-BE" b="1" i="0">
                <a:latin typeface="Calibri" panose="020F0502020204030204" pitchFamily="34" charset="0"/>
                <a:cs typeface="Calibri" panose="020F0502020204030204" pitchFamily="34" charset="0"/>
              </a:rPr>
              <a:t>Verbindt</a:t>
            </a:r>
          </a:p>
        </p:txBody>
      </p:sp>
    </p:spTree>
    <p:extLst>
      <p:ext uri="{BB962C8B-B14F-4D97-AF65-F5344CB8AC3E}">
        <p14:creationId xmlns:p14="http://schemas.microsoft.com/office/powerpoint/2010/main" val="24002973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Dark + Text FR">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évelopp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Facilit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Rapproch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38025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Dark + Text EN">
    <p:spTree>
      <p:nvGrpSpPr>
        <p:cNvPr id="1" name=""/>
        <p:cNvGrpSpPr/>
        <p:nvPr/>
      </p:nvGrpSpPr>
      <p:grpSpPr>
        <a:xfrm>
          <a:off x="0" y="0"/>
          <a:ext cx="0" cy="0"/>
          <a:chOff x="0" y="0"/>
          <a:chExt cx="0" cy="0"/>
        </a:xfrm>
      </p:grpSpPr>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evelops</a:t>
            </a:r>
            <a:endParaRPr lang="nl-BE" b="1" i="0">
              <a:latin typeface="Calibri" panose="020F0502020204030204" pitchFamily="34" charset="0"/>
              <a:cs typeface="Calibri" panose="020F0502020204030204" pitchFamily="34" charset="0"/>
            </a:endParaRPr>
          </a:p>
          <a:p>
            <a:r>
              <a:rPr lang="nl-BE" b="1" err="1"/>
              <a:t>Facilitates</a:t>
            </a:r>
            <a:endParaRPr lang="nl-BE" b="1"/>
          </a:p>
          <a:p>
            <a:r>
              <a:rPr lang="nl-BE" b="1" i="0" err="1">
                <a:latin typeface="Calibri" panose="020F0502020204030204" pitchFamily="34" charset="0"/>
                <a:cs typeface="Calibri" panose="020F0502020204030204" pitchFamily="34" charset="0"/>
              </a:rPr>
              <a:t>Bringstogether</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96311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42FA7FF-343F-4B15-8C07-71F25E92F617}" type="slidenum">
              <a:rPr lang="en-US" smtClean="0"/>
              <a:t>‹#›</a:t>
            </a:fld>
            <a:endParaRPr lang="en-US"/>
          </a:p>
        </p:txBody>
      </p:sp>
    </p:spTree>
    <p:extLst>
      <p:ext uri="{BB962C8B-B14F-4D97-AF65-F5344CB8AC3E}">
        <p14:creationId xmlns:p14="http://schemas.microsoft.com/office/powerpoint/2010/main" val="4207367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10" name="Picture Placeholder 3">
            <a:extLst>
              <a:ext uri="{FF2B5EF4-FFF2-40B4-BE49-F238E27FC236}">
                <a16:creationId xmlns:a16="http://schemas.microsoft.com/office/drawing/2014/main" id="{23CEB549-B338-4921-9864-78D129E8AC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23" r="3241" b="-33"/>
          <a:stretch/>
        </p:blipFill>
        <p:spPr>
          <a:xfrm>
            <a:off x="2174350" y="-3008"/>
            <a:ext cx="10017650" cy="6875601"/>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F911E22E-90F5-43E7-A3D3-370E5F91F49C}"/>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4" name="Picture 3" descr="A picture containing text, clipart&#10;&#10;Description automatically generated">
            <a:extLst>
              <a:ext uri="{FF2B5EF4-FFF2-40B4-BE49-F238E27FC236}">
                <a16:creationId xmlns:a16="http://schemas.microsoft.com/office/drawing/2014/main" id="{23A0404C-E99D-4999-B87D-0B7F7B847E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3342721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entation cover A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BF4AE1-5634-49A0-9981-E13C37BED7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A11785E8-C000-44A0-A058-709CAF8B042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EA0463F4-E2D4-4E25-86B5-1B6A2889DAD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610710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entation cover BUMBLEBE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C3B2C22-6F2B-4FA2-83CE-1C6FE75961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4" name="Title 20">
            <a:extLst>
              <a:ext uri="{FF2B5EF4-FFF2-40B4-BE49-F238E27FC236}">
                <a16:creationId xmlns:a16="http://schemas.microsoft.com/office/drawing/2014/main" id="{D24C967D-FB86-4530-91D0-DA83397327E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20EF942C-3233-4CD6-9CE6-F3B8639DDD8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979112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ation cover OWL">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19EEE1-3CAF-4911-8975-7A3914776B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9040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76F1C6D9-0124-4D87-8137-18F92BDA08C1}"/>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A3E3E3B8-0191-4A47-AFD9-710D1DEF396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9991344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sentation cover FO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13C4BE-4801-447C-A349-D61D4DA77E8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09990201-4231-4834-A00E-042ED42832E3}"/>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680AC24E-A5B9-4317-A7BB-4D6873E6B88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1887379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07DAA9-9447-4D62-93C3-96CAAAC9FF89}"/>
              </a:ext>
            </a:extLst>
          </p:cNvPr>
          <p:cNvSpPr>
            <a:spLocks noGrp="1"/>
          </p:cNvSpPr>
          <p:nvPr>
            <p:ph sz="half" idx="10" hasCustomPrompt="1"/>
          </p:nvPr>
        </p:nvSpPr>
        <p:spPr>
          <a:xfrm>
            <a:off x="613346" y="1150994"/>
            <a:ext cx="10944266" cy="5240267"/>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25" name="Text Placeholder 23">
            <a:extLst>
              <a:ext uri="{FF2B5EF4-FFF2-40B4-BE49-F238E27FC236}">
                <a16:creationId xmlns:a16="http://schemas.microsoft.com/office/drawing/2014/main" id="{8EBE2499-E853-41AA-AFED-2BCD7016D822}"/>
              </a:ext>
            </a:extLst>
          </p:cNvPr>
          <p:cNvSpPr>
            <a:spLocks noGrp="1"/>
          </p:cNvSpPr>
          <p:nvPr>
            <p:ph type="body" sz="quarter" idx="13"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C838CEA5-CF3E-4442-8DBD-1C4913E73D02}"/>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E55F1175-1054-49FF-955C-2B5C8268F7C5}"/>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5108038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7958020" y="1150993"/>
            <a:ext cx="3609565" cy="5249996"/>
          </a:xfrm>
          <a:prstGeom prst="rect">
            <a:avLst/>
          </a:prstGeom>
        </p:spPr>
        <p:txBody>
          <a:bodyPr/>
          <a:lstStyle>
            <a:lvl1pPr marL="0" indent="0">
              <a:buNone/>
              <a:defRPr/>
            </a:lvl1pPr>
          </a:lstStyle>
          <a:p>
            <a:r>
              <a:rPr lang="en-US"/>
              <a:t>Click icon to add picture</a:t>
            </a:r>
            <a:endParaRPr lang="fr-LU"/>
          </a:p>
        </p:txBody>
      </p:sp>
      <p:sp>
        <p:nvSpPr>
          <p:cNvPr id="23" name="Text Placeholder 23">
            <a:extLst>
              <a:ext uri="{FF2B5EF4-FFF2-40B4-BE49-F238E27FC236}">
                <a16:creationId xmlns:a16="http://schemas.microsoft.com/office/drawing/2014/main" id="{70EB2389-D30D-454A-8EEF-13F96F08EE46}"/>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Content Placeholder 2">
            <a:extLst>
              <a:ext uri="{FF2B5EF4-FFF2-40B4-BE49-F238E27FC236}">
                <a16:creationId xmlns:a16="http://schemas.microsoft.com/office/drawing/2014/main" id="{01C49BAB-BD3B-4825-9D51-2760E0ED8D9A}"/>
              </a:ext>
            </a:extLst>
          </p:cNvPr>
          <p:cNvSpPr>
            <a:spLocks noGrp="1"/>
          </p:cNvSpPr>
          <p:nvPr>
            <p:ph sz="half" idx="10" hasCustomPrompt="1"/>
          </p:nvPr>
        </p:nvSpPr>
        <p:spPr>
          <a:xfrm>
            <a:off x="613346" y="1150993"/>
            <a:ext cx="7208915" cy="5259282"/>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9" name="Title 20">
            <a:extLst>
              <a:ext uri="{FF2B5EF4-FFF2-40B4-BE49-F238E27FC236}">
                <a16:creationId xmlns:a16="http://schemas.microsoft.com/office/drawing/2014/main" id="{D29FEE97-A994-4395-B8F8-56DDBD72C2E9}"/>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10" name="Text Placeholder 23">
            <a:extLst>
              <a:ext uri="{FF2B5EF4-FFF2-40B4-BE49-F238E27FC236}">
                <a16:creationId xmlns:a16="http://schemas.microsoft.com/office/drawing/2014/main" id="{7C52A95B-3915-4A90-A28E-7C1281697C26}"/>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24248799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4192D595-1F62-417D-8DAC-57D5926F01B8}"/>
              </a:ext>
            </a:extLst>
          </p:cNvPr>
          <p:cNvSpPr>
            <a:spLocks noGrp="1"/>
          </p:cNvSpPr>
          <p:nvPr>
            <p:ph type="pic" sz="quarter" idx="11"/>
          </p:nvPr>
        </p:nvSpPr>
        <p:spPr>
          <a:xfrm>
            <a:off x="613346" y="1142591"/>
            <a:ext cx="10954239" cy="5258398"/>
          </a:xfrm>
          <a:prstGeom prst="rect">
            <a:avLst/>
          </a:prstGeom>
        </p:spPr>
        <p:txBody>
          <a:bodyPr/>
          <a:lstStyle>
            <a:lvl1pPr marL="0" indent="0">
              <a:buNone/>
              <a:defRPr/>
            </a:lvl1pPr>
          </a:lstStyle>
          <a:p>
            <a:r>
              <a:rPr lang="en-US"/>
              <a:t>Click icon to add picture</a:t>
            </a:r>
            <a:endParaRPr lang="fr-LU"/>
          </a:p>
        </p:txBody>
      </p:sp>
      <p:sp>
        <p:nvSpPr>
          <p:cNvPr id="29" name="Text Placeholder 23">
            <a:extLst>
              <a:ext uri="{FF2B5EF4-FFF2-40B4-BE49-F238E27FC236}">
                <a16:creationId xmlns:a16="http://schemas.microsoft.com/office/drawing/2014/main" id="{69512A0D-979C-4A66-940B-BC1CD2F83FA9}"/>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F998DDA3-6869-4DF1-BBBC-9114F1300BCC}"/>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4FF5C71F-2041-4C1A-ADF5-DEAB4C047260}"/>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1966295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1600200"/>
            <a:ext cx="11240873" cy="2764904"/>
          </a:xfrm>
        </p:spPr>
        <p:txBody>
          <a:bodyPr anchor="b"/>
          <a:lstStyle>
            <a:lvl1pPr algn="l">
              <a:defRPr sz="4800"/>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8" name="DBLOGO_FIX">
            <a:extLst>
              <a:ext uri="{FF2B5EF4-FFF2-40B4-BE49-F238E27FC236}">
                <a16:creationId xmlns:a16="http://schemas.microsoft.com/office/drawing/2014/main" id="{AA49C202-A02A-4B01-B936-D0FA74FB8D5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79771" y="511987"/>
            <a:ext cx="1220486" cy="854506"/>
          </a:xfrm>
          <a:prstGeom prst="rect">
            <a:avLst/>
          </a:prstGeom>
        </p:spPr>
      </p:pic>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8611"/>
            <a:ext cx="11240873" cy="380709"/>
          </a:xfrm>
        </p:spPr>
        <p:txBody>
          <a:bodyPr/>
          <a:lstStyle>
            <a:lvl1pPr marL="0" indent="0">
              <a:buNone/>
              <a:defRPr>
                <a:latin typeface="DB Head Light" panose="020B0302050202020204" pitchFamily="34" charset="0"/>
              </a:defRPr>
            </a:lvl1pPr>
          </a:lstStyle>
          <a:p>
            <a:pPr lvl="0"/>
            <a:r>
              <a:rPr lang="de-DE"/>
              <a:t>Datum | Ort</a:t>
            </a:r>
          </a:p>
        </p:txBody>
      </p:sp>
      <p:sp>
        <p:nvSpPr>
          <p:cNvPr id="11" name="PULS_FIX">
            <a:extLst>
              <a:ext uri="{FF2B5EF4-FFF2-40B4-BE49-F238E27FC236}">
                <a16:creationId xmlns:a16="http://schemas.microsoft.com/office/drawing/2014/main" id="{AC45A34D-75DC-4BA7-88F8-5CBA85EE7F5A}"/>
              </a:ext>
            </a:extLst>
          </p:cNvPr>
          <p:cNvSpPr/>
          <p:nvPr userDrawn="1"/>
        </p:nvSpPr>
        <p:spPr>
          <a:xfrm>
            <a:off x="579652" y="5467614"/>
            <a:ext cx="1220724" cy="12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691690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1600200"/>
            <a:ext cx="11240873" cy="276490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11" name="PULS_FIX">
            <a:extLst>
              <a:ext uri="{FF2B5EF4-FFF2-40B4-BE49-F238E27FC236}">
                <a16:creationId xmlns:a16="http://schemas.microsoft.com/office/drawing/2014/main" id="{AC45A34D-75DC-4BA7-88F8-5CBA85EE7F5A}"/>
              </a:ext>
            </a:extLst>
          </p:cNvPr>
          <p:cNvSpPr/>
          <p:nvPr userDrawn="1"/>
        </p:nvSpPr>
        <p:spPr>
          <a:xfrm>
            <a:off x="579652" y="5467614"/>
            <a:ext cx="1220724" cy="121625"/>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DBLOGO_FIX">
            <a:extLst>
              <a:ext uri="{FF2B5EF4-FFF2-40B4-BE49-F238E27FC236}">
                <a16:creationId xmlns:a16="http://schemas.microsoft.com/office/drawing/2014/main" id="{1DD18AD4-F767-4B83-B6E4-2F6A0882C6A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41703" y="475902"/>
            <a:ext cx="1296622" cy="926676"/>
          </a:xfrm>
          <a:prstGeom prst="rect">
            <a:avLst/>
          </a:prstGeom>
        </p:spPr>
      </p:pic>
    </p:spTree>
    <p:extLst>
      <p:ext uri="{BB962C8B-B14F-4D97-AF65-F5344CB8AC3E}">
        <p14:creationId xmlns:p14="http://schemas.microsoft.com/office/powerpoint/2010/main" val="2171577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2182243" y="642220"/>
            <a:ext cx="2876550" cy="1809750"/>
          </a:xfrm>
          <a:prstGeom prst="rect">
            <a:avLst/>
          </a:prstGeom>
        </p:spPr>
      </p:pic>
      <p:pic>
        <p:nvPicPr>
          <p:cNvPr id="8" name="Picture 7"/>
          <p:cNvPicPr>
            <a:picLocks noChangeAspect="1"/>
          </p:cNvPicPr>
          <p:nvPr userDrawn="1"/>
        </p:nvPicPr>
        <p:blipFill rotWithShape="1">
          <a:blip r:embed="rId3"/>
          <a:srcRect l="1691" t="3553" r="4758" b="4392"/>
          <a:stretch/>
        </p:blipFill>
        <p:spPr>
          <a:xfrm>
            <a:off x="10348116" y="5330367"/>
            <a:ext cx="1146628" cy="526321"/>
          </a:xfrm>
          <a:prstGeom prst="rect">
            <a:avLst/>
          </a:prstGeom>
        </p:spPr>
      </p:pic>
      <p:sp>
        <p:nvSpPr>
          <p:cNvPr id="10" name="TextBox 9"/>
          <p:cNvSpPr txBox="1"/>
          <p:nvPr userDrawn="1"/>
        </p:nvSpPr>
        <p:spPr>
          <a:xfrm>
            <a:off x="2220685" y="3244112"/>
            <a:ext cx="7626792" cy="954107"/>
          </a:xfrm>
          <a:prstGeom prst="rect">
            <a:avLst/>
          </a:prstGeom>
          <a:noFill/>
        </p:spPr>
        <p:txBody>
          <a:bodyPr wrap="square" rtlCol="0">
            <a:spAutoFit/>
          </a:bodyPr>
          <a:lstStyle/>
          <a:p>
            <a:r>
              <a:rPr lang="en-US" sz="2800" b="1" i="0">
                <a:solidFill>
                  <a:srgbClr val="004494"/>
                </a:solidFill>
                <a:effectLst/>
                <a:latin typeface="-apple-system"/>
              </a:rPr>
              <a:t>Moving Europe towards a sustainable</a:t>
            </a:r>
            <a:br>
              <a:rPr lang="en-US" sz="2800"/>
            </a:br>
            <a:r>
              <a:rPr lang="en-US" sz="2800" b="1" i="0">
                <a:solidFill>
                  <a:srgbClr val="004494"/>
                </a:solidFill>
                <a:effectLst/>
                <a:latin typeface="-apple-system"/>
              </a:rPr>
              <a:t>and safe railway system without frontiers.</a:t>
            </a:r>
            <a:endParaRPr lang="en-GB" sz="2800">
              <a:solidFill>
                <a:srgbClr val="004494"/>
              </a:solidFill>
            </a:endParaRPr>
          </a:p>
        </p:txBody>
      </p:sp>
      <p:sp>
        <p:nvSpPr>
          <p:cNvPr id="11" name="TextBox 10"/>
          <p:cNvSpPr txBox="1"/>
          <p:nvPr userDrawn="1"/>
        </p:nvSpPr>
        <p:spPr>
          <a:xfrm>
            <a:off x="2227941" y="5330367"/>
            <a:ext cx="6088744" cy="646331"/>
          </a:xfrm>
          <a:prstGeom prst="rect">
            <a:avLst/>
          </a:prstGeom>
          <a:noFill/>
        </p:spPr>
        <p:txBody>
          <a:bodyPr wrap="square" rtlCol="0">
            <a:spAutoFit/>
          </a:bodyPr>
          <a:lstStyle/>
          <a:p>
            <a:r>
              <a:rPr lang="en-GB">
                <a:solidFill>
                  <a:srgbClr val="004494"/>
                </a:solidFill>
              </a:rPr>
              <a:t>Discover our job opportunities on </a:t>
            </a:r>
            <a:r>
              <a:rPr lang="en-GB" b="1">
                <a:solidFill>
                  <a:srgbClr val="004494"/>
                </a:solidFill>
              </a:rPr>
              <a:t>era.europa.eu</a:t>
            </a:r>
            <a:endParaRPr lang="en-GB" b="1"/>
          </a:p>
          <a:p>
            <a:endParaRPr lang="en-GB"/>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40691" y="4503352"/>
            <a:ext cx="609600" cy="609600"/>
          </a:xfrm>
          <a:prstGeom prst="rect">
            <a:avLst/>
          </a:prstGeom>
        </p:spPr>
      </p:pic>
      <p:sp>
        <p:nvSpPr>
          <p:cNvPr id="13" name="TextBox 12"/>
          <p:cNvSpPr txBox="1"/>
          <p:nvPr userDrawn="1"/>
        </p:nvSpPr>
        <p:spPr>
          <a:xfrm>
            <a:off x="2220685" y="4638634"/>
            <a:ext cx="7271656" cy="646331"/>
          </a:xfrm>
          <a:prstGeom prst="rect">
            <a:avLst/>
          </a:prstGeom>
          <a:noFill/>
        </p:spPr>
        <p:txBody>
          <a:bodyPr wrap="square" rtlCol="0">
            <a:spAutoFit/>
          </a:bodyPr>
          <a:lstStyle/>
          <a:p>
            <a:r>
              <a:rPr lang="en-US">
                <a:solidFill>
                  <a:srgbClr val="004494"/>
                </a:solidFill>
              </a:rPr>
              <a:t>Follow us on             </a:t>
            </a:r>
            <a:r>
              <a:rPr lang="en-GB">
                <a:solidFill>
                  <a:srgbClr val="004494"/>
                </a:solidFill>
              </a:rPr>
              <a:t>ERA_railways</a:t>
            </a:r>
          </a:p>
          <a:p>
            <a:endParaRPr lang="en-US">
              <a:solidFill>
                <a:srgbClr val="004494"/>
              </a:solidFill>
            </a:endParaRPr>
          </a:p>
        </p:txBody>
      </p:sp>
    </p:spTree>
    <p:extLst>
      <p:ext uri="{BB962C8B-B14F-4D97-AF65-F5344CB8AC3E}">
        <p14:creationId xmlns:p14="http://schemas.microsoft.com/office/powerpoint/2010/main" val="10631261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Bild, Logo Ro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PULS">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79652"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3609020"/>
            <a:ext cx="11240873" cy="75608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8" name="DBLOGO">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79652"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8059702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Bild, Logo Weiß)">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PULS">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79652"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3609020"/>
            <a:ext cx="11240873" cy="75608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8" name="DBLOGO">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79652"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41305620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Bild, Logo Rot zentrier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PULS">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485639"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476" y="3609020"/>
            <a:ext cx="11449050" cy="756084"/>
          </a:xfrm>
        </p:spPr>
        <p:txBody>
          <a:bodyPr anchor="b"/>
          <a:lstStyle>
            <a:lvl1pPr algn="ctr">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371476" y="4392005"/>
            <a:ext cx="11449050" cy="683654"/>
          </a:xfrm>
        </p:spPr>
        <p:txBody>
          <a:bodyPr/>
          <a:lstStyle>
            <a:lvl1pPr marL="0" indent="0" algn="ctr">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371476" y="5920896"/>
            <a:ext cx="11449050" cy="380709"/>
          </a:xfrm>
        </p:spPr>
        <p:txBody>
          <a:bodyPr/>
          <a:lstStyle>
            <a:lvl1pPr marL="0" indent="0" algn="ctr">
              <a:buNone/>
              <a:defRPr>
                <a:solidFill>
                  <a:schemeClr val="bg1"/>
                </a:solidFill>
                <a:latin typeface="DB Head Light" panose="020B0302050202020204" pitchFamily="34" charset="0"/>
              </a:defRPr>
            </a:lvl1pPr>
          </a:lstStyle>
          <a:p>
            <a:pPr lvl="0"/>
            <a:r>
              <a:rPr lang="de-DE"/>
              <a:t>Datum | Ort</a:t>
            </a:r>
          </a:p>
        </p:txBody>
      </p:sp>
      <p:sp>
        <p:nvSpPr>
          <p:cNvPr id="8" name="DBLOGO">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485799"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34963469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Bild, Logo Weiß zentrier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PULS">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485639"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476" y="3609020"/>
            <a:ext cx="11449050" cy="756084"/>
          </a:xfrm>
        </p:spPr>
        <p:txBody>
          <a:bodyPr anchor="b"/>
          <a:lstStyle>
            <a:lvl1pPr algn="ctr">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371476" y="4392005"/>
            <a:ext cx="11449050" cy="683654"/>
          </a:xfrm>
        </p:spPr>
        <p:txBody>
          <a:bodyPr/>
          <a:lstStyle>
            <a:lvl1pPr marL="0" indent="0" algn="ctr">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371475" y="5920896"/>
            <a:ext cx="11449051" cy="380709"/>
          </a:xfrm>
        </p:spPr>
        <p:txBody>
          <a:bodyPr/>
          <a:lstStyle>
            <a:lvl1pPr marL="0" indent="0" algn="ctr">
              <a:buNone/>
              <a:defRPr>
                <a:solidFill>
                  <a:schemeClr val="bg1"/>
                </a:solidFill>
                <a:latin typeface="DB Head Light" panose="020B0302050202020204" pitchFamily="34" charset="0"/>
              </a:defRPr>
            </a:lvl1pPr>
          </a:lstStyle>
          <a:p>
            <a:pPr lvl="0"/>
            <a:r>
              <a:rPr lang="de-DE"/>
              <a:t>Datum | Ort</a:t>
            </a:r>
          </a:p>
        </p:txBody>
      </p:sp>
      <p:sp>
        <p:nvSpPr>
          <p:cNvPr id="8" name="DBLOGO">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485799" y="513294"/>
            <a:ext cx="1220400" cy="8532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9306713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Rahmen)">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364" y="1073676"/>
            <a:ext cx="7309209" cy="5415664"/>
          </a:xfrm>
          <a:prstGeom prst="roundRect">
            <a:avLst>
              <a:gd name="adj" fmla="val 1200"/>
            </a:avLst>
          </a:prstGeom>
          <a:solidFill>
            <a:schemeClr val="bg1">
              <a:alpha val="80000"/>
            </a:schemeClr>
          </a:solidFill>
        </p:spPr>
        <p:txBody>
          <a:bodyPr lIns="360000" tIns="252000" rIns="252000" bIns="2232000" anchor="b"/>
          <a:lstStyle>
            <a:lvl1pPr algn="l">
              <a:defRPr sz="4800">
                <a:solidFill>
                  <a:schemeClr val="tx1"/>
                </a:solidFill>
              </a:defRPr>
            </a:lvl1pPr>
          </a:lstStyle>
          <a:p>
            <a:r>
              <a:rPr lang="de-DE"/>
              <a:t>Mastertitelformat bearbeiten</a:t>
            </a:r>
          </a:p>
        </p:txBody>
      </p:sp>
      <p:sp>
        <p:nvSpPr>
          <p:cNvPr id="12" name="PULS">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749299" y="5467615"/>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749299" y="4371454"/>
            <a:ext cx="6643241" cy="683654"/>
          </a:xfrm>
        </p:spPr>
        <p:txBody>
          <a:bodyPr/>
          <a:lstStyle>
            <a:lvl1pPr marL="0" indent="0" algn="l">
              <a:buNone/>
              <a:defRPr sz="3200">
                <a:solidFill>
                  <a:schemeClr val="tx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731403" y="5922000"/>
            <a:ext cx="6661137" cy="380709"/>
          </a:xfrm>
        </p:spPr>
        <p:txBody>
          <a:bodyPr/>
          <a:lstStyle>
            <a:lvl1pPr marL="0" indent="0">
              <a:buNone/>
              <a:defRPr sz="1600">
                <a:solidFill>
                  <a:schemeClr val="tx1"/>
                </a:solidFill>
                <a:latin typeface="DB Head Light" panose="020B0302050202020204" pitchFamily="34" charset="0"/>
              </a:defRPr>
            </a:lvl1pPr>
          </a:lstStyle>
          <a:p>
            <a:pPr lvl="0"/>
            <a:r>
              <a:rPr lang="de-DE"/>
              <a:t>Datum | Ort</a:t>
            </a:r>
          </a:p>
        </p:txBody>
      </p:sp>
      <p:sp>
        <p:nvSpPr>
          <p:cNvPr id="8" name="DBLOGO">
            <a:extLst>
              <a:ext uri="{FF2B5EF4-FFF2-40B4-BE49-F238E27FC236}">
                <a16:creationId xmlns:a16="http://schemas.microsoft.com/office/drawing/2014/main" id="{398F66B9-BCC0-498C-90EC-8CDC6A8B006D}"/>
              </a:ext>
            </a:extLst>
          </p:cNvPr>
          <p:cNvSpPr>
            <a:spLocks noGrp="1"/>
          </p:cNvSpPr>
          <p:nvPr>
            <p:ph type="body" sz="quarter" idx="18" hasCustomPrompt="1"/>
          </p:nvPr>
        </p:nvSpPr>
        <p:spPr>
          <a:xfrm>
            <a:off x="735140" y="1448780"/>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40111081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sverzeichnis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tx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tx1"/>
                </a:solidFill>
              </a:defRPr>
            </a:lvl1pPr>
          </a:lstStyle>
          <a:p>
            <a:fld id="{913D9F7D-0C28-4C21-AA99-7C67E34F632A}" type="slidenum">
              <a:rPr lang="de-DE" smtClean="0"/>
              <a:pPr/>
              <a:t>‹#›</a:t>
            </a:fld>
            <a:endParaRPr lang="de-DE"/>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tx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spTree>
    <p:extLst>
      <p:ext uri="{BB962C8B-B14F-4D97-AF65-F5344CB8AC3E}">
        <p14:creationId xmlns:p14="http://schemas.microsoft.com/office/powerpoint/2010/main" val="25783255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haltsverzeichnis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pic>
        <p:nvPicPr>
          <p:cNvPr id="14" name="DBLOGO_FIX">
            <a:extLst>
              <a:ext uri="{FF2B5EF4-FFF2-40B4-BE49-F238E27FC236}">
                <a16:creationId xmlns:a16="http://schemas.microsoft.com/office/drawing/2014/main" id="{F278C346-43C5-4148-9236-F5A3A56A68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6615" y="354524"/>
            <a:ext cx="568198" cy="406082"/>
          </a:xfrm>
          <a:prstGeom prst="rect">
            <a:avLst/>
          </a:prstGeom>
        </p:spPr>
      </p:pic>
      <p:sp>
        <p:nvSpPr>
          <p:cNvPr id="16" name="PULS_FIX">
            <a:extLst>
              <a:ext uri="{FF2B5EF4-FFF2-40B4-BE49-F238E27FC236}">
                <a16:creationId xmlns:a16="http://schemas.microsoft.com/office/drawing/2014/main" id="{652B2642-5C15-4995-AB93-CA337E09B1DB}"/>
              </a:ext>
            </a:extLst>
          </p:cNvPr>
          <p:cNvSpPr>
            <a:spLocks/>
          </p:cNvSpPr>
          <p:nvPr userDrawn="1"/>
        </p:nvSpPr>
        <p:spPr bwMode="auto">
          <a:xfrm>
            <a:off x="11293475" y="6469871"/>
            <a:ext cx="542925" cy="55563"/>
          </a:xfrm>
          <a:custGeom>
            <a:avLst/>
            <a:gdLst>
              <a:gd name="T0" fmla="*/ 3590 w 3779"/>
              <a:gd name="T1" fmla="*/ 377 h 377"/>
              <a:gd name="T2" fmla="*/ 3590 w 3779"/>
              <a:gd name="T3" fmla="*/ 377 h 377"/>
              <a:gd name="T4" fmla="*/ 188 w 3779"/>
              <a:gd name="T5" fmla="*/ 377 h 377"/>
              <a:gd name="T6" fmla="*/ 0 w 3779"/>
              <a:gd name="T7" fmla="*/ 188 h 377"/>
              <a:gd name="T8" fmla="*/ 188 w 3779"/>
              <a:gd name="T9" fmla="*/ 0 h 377"/>
              <a:gd name="T10" fmla="*/ 3590 w 3779"/>
              <a:gd name="T11" fmla="*/ 0 h 377"/>
              <a:gd name="T12" fmla="*/ 3779 w 3779"/>
              <a:gd name="T13" fmla="*/ 188 h 377"/>
              <a:gd name="T14" fmla="*/ 3590 w 3779"/>
              <a:gd name="T15" fmla="*/ 377 h 3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79" h="377">
                <a:moveTo>
                  <a:pt x="3590" y="377"/>
                </a:moveTo>
                <a:lnTo>
                  <a:pt x="3590" y="377"/>
                </a:lnTo>
                <a:lnTo>
                  <a:pt x="188" y="377"/>
                </a:lnTo>
                <a:cubicBezTo>
                  <a:pt x="79" y="377"/>
                  <a:pt x="0" y="293"/>
                  <a:pt x="0" y="188"/>
                </a:cubicBezTo>
                <a:cubicBezTo>
                  <a:pt x="0" y="82"/>
                  <a:pt x="79" y="0"/>
                  <a:pt x="188" y="0"/>
                </a:cubicBezTo>
                <a:lnTo>
                  <a:pt x="3590" y="0"/>
                </a:lnTo>
                <a:cubicBezTo>
                  <a:pt x="3700" y="0"/>
                  <a:pt x="3779" y="82"/>
                  <a:pt x="3779" y="188"/>
                </a:cubicBezTo>
                <a:cubicBezTo>
                  <a:pt x="3779" y="293"/>
                  <a:pt x="3700" y="377"/>
                  <a:pt x="3590" y="37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 name="REDOVERLAY">
            <a:extLst>
              <a:ext uri="{FF2B5EF4-FFF2-40B4-BE49-F238E27FC236}">
                <a16:creationId xmlns:a16="http://schemas.microsoft.com/office/drawing/2014/main" id="{DC51C0DB-E954-4822-929C-3677B06222CC}"/>
              </a:ext>
            </a:extLst>
          </p:cNvPr>
          <p:cNvSpPr/>
          <p:nvPr userDrawn="1"/>
        </p:nvSpPr>
        <p:spPr>
          <a:xfrm>
            <a:off x="7879963" y="6232613"/>
            <a:ext cx="2880000" cy="540000"/>
          </a:xfrm>
          <a:prstGeom prst="rect">
            <a:avLst/>
          </a:prstGeom>
          <a:solidFill>
            <a:srgbClr val="EC0016"/>
          </a:solidFill>
          <a:ln>
            <a:solidFill>
              <a:srgbClr val="EC001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indent="0" algn="r">
              <a:buClr>
                <a:schemeClr val="accent2"/>
              </a:buClr>
              <a:buFont typeface="DB Sans" panose="020B0502050202020204" pitchFamily="34" charset="0"/>
              <a:buNone/>
            </a:pPr>
            <a:endParaRPr lang="de-DE" sz="1600">
              <a:solidFill>
                <a:srgbClr val="FFFFFF"/>
              </a:solidFill>
            </a:endParaRPr>
          </a:p>
        </p:txBody>
      </p:sp>
    </p:spTree>
    <p:extLst>
      <p:ext uri="{BB962C8B-B14F-4D97-AF65-F5344CB8AC3E}">
        <p14:creationId xmlns:p14="http://schemas.microsoft.com/office/powerpoint/2010/main" val="2655596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haltsverzeichnis (Bild, Logo Rot)">
    <p:spTree>
      <p:nvGrpSpPr>
        <p:cNvPr id="1" name=""/>
        <p:cNvGrpSpPr/>
        <p:nvPr/>
      </p:nvGrpSpPr>
      <p:grpSpPr>
        <a:xfrm>
          <a:off x="0" y="0"/>
          <a:ext cx="0" cy="0"/>
          <a:chOff x="0" y="0"/>
          <a:chExt cx="0" cy="0"/>
        </a:xfrm>
      </p:grpSpPr>
      <p:sp>
        <p:nvSpPr>
          <p:cNvPr id="12" name="Bildplatzhalter 10">
            <a:extLst>
              <a:ext uri="{FF2B5EF4-FFF2-40B4-BE49-F238E27FC236}">
                <a16:creationId xmlns:a16="http://schemas.microsoft.com/office/drawing/2014/main" id="{E2BE1948-FCAB-44DC-8926-051C5011458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7" name="PULS">
            <a:extLst>
              <a:ext uri="{FF2B5EF4-FFF2-40B4-BE49-F238E27FC236}">
                <a16:creationId xmlns:a16="http://schemas.microsoft.com/office/drawing/2014/main" id="{4DAC0F8B-4A4D-455D-8D50-154C31AA3BE0}"/>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sp>
        <p:nvSpPr>
          <p:cNvPr id="10" name="DBLOGO">
            <a:extLst>
              <a:ext uri="{FF2B5EF4-FFF2-40B4-BE49-F238E27FC236}">
                <a16:creationId xmlns:a16="http://schemas.microsoft.com/office/drawing/2014/main" id="{34D3CC7E-1D5E-477C-9141-519D3F059291}"/>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marL="0" indent="0">
              <a:buNone/>
              <a:defRPr lang="de-DE" sz="1000" dirty="0">
                <a:solidFill>
                  <a:schemeClr val="bg1"/>
                </a:solidFill>
              </a:defRPr>
            </a:lvl1pPr>
          </a:lstStyle>
          <a:p>
            <a:pPr marL="182563" lvl="0" indent="-182563"/>
            <a:r>
              <a:rPr lang="de-DE"/>
              <a:t> </a:t>
            </a:r>
          </a:p>
        </p:txBody>
      </p:sp>
    </p:spTree>
    <p:extLst>
      <p:ext uri="{BB962C8B-B14F-4D97-AF65-F5344CB8AC3E}">
        <p14:creationId xmlns:p14="http://schemas.microsoft.com/office/powerpoint/2010/main" val="35279839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haltsverzeichnis (Bild, Logo Weiß)">
    <p:spTree>
      <p:nvGrpSpPr>
        <p:cNvPr id="1" name=""/>
        <p:cNvGrpSpPr/>
        <p:nvPr/>
      </p:nvGrpSpPr>
      <p:grpSpPr>
        <a:xfrm>
          <a:off x="0" y="0"/>
          <a:ext cx="0" cy="0"/>
          <a:chOff x="0" y="0"/>
          <a:chExt cx="0" cy="0"/>
        </a:xfrm>
      </p:grpSpPr>
      <p:sp>
        <p:nvSpPr>
          <p:cNvPr id="12" name="Bildplatzhalter 10">
            <a:extLst>
              <a:ext uri="{FF2B5EF4-FFF2-40B4-BE49-F238E27FC236}">
                <a16:creationId xmlns:a16="http://schemas.microsoft.com/office/drawing/2014/main" id="{E2BE1948-FCAB-44DC-8926-051C5011458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7" name="PULS">
            <a:extLst>
              <a:ext uri="{FF2B5EF4-FFF2-40B4-BE49-F238E27FC236}">
                <a16:creationId xmlns:a16="http://schemas.microsoft.com/office/drawing/2014/main" id="{4DAC0F8B-4A4D-455D-8D50-154C31AA3BE0}"/>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175993"/>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sp>
        <p:nvSpPr>
          <p:cNvPr id="10" name="DBLOGO">
            <a:extLst>
              <a:ext uri="{FF2B5EF4-FFF2-40B4-BE49-F238E27FC236}">
                <a16:creationId xmlns:a16="http://schemas.microsoft.com/office/drawing/2014/main" id="{34D3CC7E-1D5E-477C-9141-519D3F059291}"/>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36694300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a:solidFill>
                  <a:schemeClr val="tx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p>
            <a:fld id="{913D9F7D-0C28-4C21-AA99-7C67E34F632A}" type="slidenum">
              <a:rPr lang="de-DE" smtClean="0"/>
              <a:t>‹#›</a:t>
            </a:fld>
            <a:endParaRPr lang="de-DE"/>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lvl1pPr>
          </a:lstStyle>
          <a:p>
            <a:pPr lvl="0"/>
            <a:r>
              <a:rPr lang="de-DE"/>
              <a:t>Mastertextformat bearbeiten</a:t>
            </a:r>
          </a:p>
        </p:txBody>
      </p:sp>
      <p:sp>
        <p:nvSpPr>
          <p:cNvPr id="12" name="Rechteck: abgerundete Ecken 11">
            <a:extLst>
              <a:ext uri="{FF2B5EF4-FFF2-40B4-BE49-F238E27FC236}">
                <a16:creationId xmlns:a16="http://schemas.microsoft.com/office/drawing/2014/main" id="{A4574D2F-0500-4A13-8529-ED82FC3897C9}"/>
              </a:ext>
            </a:extLst>
          </p:cNvPr>
          <p:cNvSpPr/>
          <p:nvPr userDrawn="1"/>
        </p:nvSpPr>
        <p:spPr>
          <a:xfrm>
            <a:off x="374776" y="3068960"/>
            <a:ext cx="1220724" cy="12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81074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19294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Logo Rot)">
    <p:bg>
      <p:bgPr>
        <a:solidFill>
          <a:schemeClr val="tx1">
            <a:alpha val="84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solidFill>
                  <a:schemeClr val="bg1"/>
                </a:solidFill>
              </a:defRPr>
            </a:lvl1pPr>
          </a:lstStyle>
          <a:p>
            <a:pPr lvl="0"/>
            <a:r>
              <a:rPr lang="de-DE"/>
              <a:t>Mastertextformat bearbeiten</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374776" y="3068960"/>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PULS">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4" name="DBLOGO">
            <a:extLst>
              <a:ext uri="{FF2B5EF4-FFF2-40B4-BE49-F238E27FC236}">
                <a16:creationId xmlns:a16="http://schemas.microsoft.com/office/drawing/2014/main" id="{BB9B65B1-AEA7-4F44-90D7-B91E0C3A1DFE}"/>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marL="0" indent="0">
              <a:buNone/>
              <a:defRPr lang="de-DE" sz="1000" dirty="0">
                <a:solidFill>
                  <a:schemeClr val="bg1"/>
                </a:solidFill>
              </a:defRPr>
            </a:lvl1pPr>
          </a:lstStyle>
          <a:p>
            <a:pPr marL="182563" lvl="0" indent="-182563"/>
            <a:r>
              <a:rPr lang="de-DE"/>
              <a:t> </a:t>
            </a:r>
          </a:p>
        </p:txBody>
      </p:sp>
    </p:spTree>
    <p:extLst>
      <p:ext uri="{BB962C8B-B14F-4D97-AF65-F5344CB8AC3E}">
        <p14:creationId xmlns:p14="http://schemas.microsoft.com/office/powerpoint/2010/main" val="29700883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Logo Weiß)">
    <p:bg>
      <p:bgPr>
        <a:solidFill>
          <a:schemeClr val="tx1">
            <a:alpha val="84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solidFill>
                  <a:schemeClr val="bg1"/>
                </a:solidFill>
              </a:defRPr>
            </a:lvl1pPr>
          </a:lstStyle>
          <a:p>
            <a:pPr lvl="0"/>
            <a:r>
              <a:rPr lang="de-DE"/>
              <a:t>Mastertextformat bearbeiten</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374776" y="3068960"/>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PULS">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4" name="DBLOGO">
            <a:extLst>
              <a:ext uri="{FF2B5EF4-FFF2-40B4-BE49-F238E27FC236}">
                <a16:creationId xmlns:a16="http://schemas.microsoft.com/office/drawing/2014/main" id="{BB9B65B1-AEA7-4F44-90D7-B91E0C3A1DFE}"/>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marL="228600" indent="-228600">
              <a:buFont typeface="Arial" panose="020B0604020202020204" pitchFamily="34" charset="0"/>
              <a:buChar char="•"/>
              <a:defRPr lang="de-DE" sz="1000" dirty="0">
                <a:solidFill>
                  <a:schemeClr val="bg1"/>
                </a:solidFill>
              </a:defRPr>
            </a:lvl1pPr>
          </a:lstStyle>
          <a:p>
            <a:pPr marL="182563" lvl="0" indent="-182563"/>
            <a:r>
              <a:rPr lang="de-DE"/>
              <a:t> </a:t>
            </a:r>
          </a:p>
        </p:txBody>
      </p:sp>
    </p:spTree>
    <p:extLst>
      <p:ext uri="{BB962C8B-B14F-4D97-AF65-F5344CB8AC3E}">
        <p14:creationId xmlns:p14="http://schemas.microsoft.com/office/powerpoint/2010/main" val="2117343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p>
            <a:fld id="{913D9F7D-0C28-4C21-AA99-7C67E34F632A}" type="slidenum">
              <a:rPr lang="de-DE" smtClean="0"/>
              <a:t>‹#›</a:t>
            </a:fld>
            <a:endParaRPr lang="de-DE"/>
          </a:p>
        </p:txBody>
      </p:sp>
      <p:sp>
        <p:nvSpPr>
          <p:cNvPr id="7" name="Inhaltsplatzhalter 6">
            <a:extLst>
              <a:ext uri="{FF2B5EF4-FFF2-40B4-BE49-F238E27FC236}">
                <a16:creationId xmlns:a16="http://schemas.microsoft.com/office/drawing/2014/main" id="{43CB751F-9E6E-4899-A573-910F22F0D831}"/>
              </a:ext>
            </a:extLst>
          </p:cNvPr>
          <p:cNvSpPr>
            <a:spLocks noGrp="1"/>
          </p:cNvSpPr>
          <p:nvPr>
            <p:ph sz="quarter" idx="13"/>
          </p:nvPr>
        </p:nvSpPr>
        <p:spPr>
          <a:xfrm>
            <a:off x="371475" y="1449388"/>
            <a:ext cx="11449049" cy="4679950"/>
          </a:xfrm>
        </p:spPr>
        <p:txBody>
          <a:bodyPr/>
          <a:lstStyle/>
          <a:p>
            <a:pPr lvl="0"/>
            <a:r>
              <a:rPr lang="de-DE"/>
              <a:t>Mastertextformat bearbeiten</a:t>
            </a:r>
          </a:p>
        </p:txBody>
      </p:sp>
    </p:spTree>
    <p:extLst>
      <p:ext uri="{BB962C8B-B14F-4D97-AF65-F5344CB8AC3E}">
        <p14:creationId xmlns:p14="http://schemas.microsoft.com/office/powerpoint/2010/main" val="18764692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p>
            <a:fld id="{913D9F7D-0C28-4C21-AA99-7C67E34F632A}" type="slidenum">
              <a:rPr lang="de-DE" smtClean="0"/>
              <a:t>‹#›</a:t>
            </a:fld>
            <a:endParaRPr lang="de-DE"/>
          </a:p>
        </p:txBody>
      </p:sp>
      <p:sp>
        <p:nvSpPr>
          <p:cNvPr id="9" name="Inhaltsplatzhalter 8">
            <a:extLst>
              <a:ext uri="{FF2B5EF4-FFF2-40B4-BE49-F238E27FC236}">
                <a16:creationId xmlns:a16="http://schemas.microsoft.com/office/drawing/2014/main" id="{98887A16-E540-417F-AEC5-F4B0FFDF4A77}"/>
              </a:ext>
            </a:extLst>
          </p:cNvPr>
          <p:cNvSpPr>
            <a:spLocks noGrp="1"/>
          </p:cNvSpPr>
          <p:nvPr>
            <p:ph sz="quarter" idx="14"/>
          </p:nvPr>
        </p:nvSpPr>
        <p:spPr>
          <a:xfrm>
            <a:off x="371475" y="1449388"/>
            <a:ext cx="5545138" cy="4679950"/>
          </a:xfrm>
        </p:spPr>
        <p:txBody>
          <a:bodyPr/>
          <a:lstStyle/>
          <a:p>
            <a:pPr lvl="0"/>
            <a:r>
              <a:rPr lang="de-DE"/>
              <a:t>Mastertextformat bearbeiten</a:t>
            </a:r>
          </a:p>
        </p:txBody>
      </p:sp>
      <p:sp>
        <p:nvSpPr>
          <p:cNvPr id="10" name="Inhaltsplatzhalter 8">
            <a:extLst>
              <a:ext uri="{FF2B5EF4-FFF2-40B4-BE49-F238E27FC236}">
                <a16:creationId xmlns:a16="http://schemas.microsoft.com/office/drawing/2014/main" id="{73A4453B-BB6A-434B-9D58-17979C3C6A73}"/>
              </a:ext>
            </a:extLst>
          </p:cNvPr>
          <p:cNvSpPr>
            <a:spLocks noGrp="1"/>
          </p:cNvSpPr>
          <p:nvPr>
            <p:ph sz="quarter" idx="15"/>
          </p:nvPr>
        </p:nvSpPr>
        <p:spPr>
          <a:xfrm>
            <a:off x="6275387" y="1449388"/>
            <a:ext cx="5545138" cy="4679950"/>
          </a:xfrm>
        </p:spPr>
        <p:txBody>
          <a:bodyPr/>
          <a:lstStyle/>
          <a:p>
            <a:pPr lvl="0"/>
            <a:r>
              <a:rPr lang="de-DE"/>
              <a:t>Mastertextformat bearbeiten</a:t>
            </a:r>
          </a:p>
        </p:txBody>
      </p:sp>
    </p:spTree>
    <p:extLst>
      <p:ext uri="{BB962C8B-B14F-4D97-AF65-F5344CB8AC3E}">
        <p14:creationId xmlns:p14="http://schemas.microsoft.com/office/powerpoint/2010/main" val="42405682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und Bild (link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E8E2C43-FDD0-456E-A273-CCBA60D84910}"/>
              </a:ext>
            </a:extLst>
          </p:cNvPr>
          <p:cNvSpPr>
            <a:spLocks noGrp="1"/>
          </p:cNvSpPr>
          <p:nvPr>
            <p:ph type="pic" sz="quarter" idx="15"/>
          </p:nvPr>
        </p:nvSpPr>
        <p:spPr>
          <a:xfrm>
            <a:off x="-1" y="1449388"/>
            <a:ext cx="5923409" cy="5408612"/>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tx1"/>
                </a:solidFill>
              </a:defRPr>
            </a:lvl1pPr>
          </a:lstStyle>
          <a:p>
            <a:fld id="{913D9F7D-0C28-4C21-AA99-7C67E34F632A}" type="slidenum">
              <a:rPr lang="de-DE" smtClean="0"/>
              <a:pPr/>
              <a:t>‹#›</a:t>
            </a:fld>
            <a:endParaRPr lang="de-DE"/>
          </a:p>
        </p:txBody>
      </p:sp>
      <p:sp>
        <p:nvSpPr>
          <p:cNvPr id="4" name="Inhaltsplatzhalter 3">
            <a:extLst>
              <a:ext uri="{FF2B5EF4-FFF2-40B4-BE49-F238E27FC236}">
                <a16:creationId xmlns:a16="http://schemas.microsoft.com/office/drawing/2014/main" id="{6AE5B13E-F925-44FA-A8D7-2CB14BB0A1B1}"/>
              </a:ext>
            </a:extLst>
          </p:cNvPr>
          <p:cNvSpPr>
            <a:spLocks noGrp="1"/>
          </p:cNvSpPr>
          <p:nvPr>
            <p:ph sz="quarter" idx="16"/>
          </p:nvPr>
        </p:nvSpPr>
        <p:spPr>
          <a:xfrm>
            <a:off x="6275388" y="1449388"/>
            <a:ext cx="5545137" cy="4679950"/>
          </a:xfrm>
        </p:spPr>
        <p:txBody>
          <a:bodyPr/>
          <a:lstStyle/>
          <a:p>
            <a:pPr lvl="0"/>
            <a:r>
              <a:rPr lang="de-DE"/>
              <a:t>Mastertextformat bearbeiten</a:t>
            </a:r>
          </a:p>
        </p:txBody>
      </p:sp>
    </p:spTree>
    <p:extLst>
      <p:ext uri="{BB962C8B-B14F-4D97-AF65-F5344CB8AC3E}">
        <p14:creationId xmlns:p14="http://schemas.microsoft.com/office/powerpoint/2010/main" val="1458896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und Bild (recht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E8E2C43-FDD0-456E-A273-CCBA60D84910}"/>
              </a:ext>
            </a:extLst>
          </p:cNvPr>
          <p:cNvSpPr>
            <a:spLocks noGrp="1"/>
          </p:cNvSpPr>
          <p:nvPr>
            <p:ph type="pic" sz="quarter" idx="15"/>
          </p:nvPr>
        </p:nvSpPr>
        <p:spPr>
          <a:xfrm>
            <a:off x="6275388" y="1449388"/>
            <a:ext cx="5916612" cy="5408612"/>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a:solidFill>
                  <a:schemeClr val="tx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4" name="Inhaltsplatzhalter 3">
            <a:extLst>
              <a:ext uri="{FF2B5EF4-FFF2-40B4-BE49-F238E27FC236}">
                <a16:creationId xmlns:a16="http://schemas.microsoft.com/office/drawing/2014/main" id="{6AE5B13E-F925-44FA-A8D7-2CB14BB0A1B1}"/>
              </a:ext>
            </a:extLst>
          </p:cNvPr>
          <p:cNvSpPr>
            <a:spLocks noGrp="1"/>
          </p:cNvSpPr>
          <p:nvPr>
            <p:ph sz="quarter" idx="16"/>
          </p:nvPr>
        </p:nvSpPr>
        <p:spPr>
          <a:xfrm>
            <a:off x="378272" y="1449388"/>
            <a:ext cx="5545137" cy="4679950"/>
          </a:xfrm>
        </p:spPr>
        <p:txBody>
          <a:bodyPr/>
          <a:lstStyle/>
          <a:p>
            <a:pPr lvl="0"/>
            <a:r>
              <a:rPr lang="de-DE"/>
              <a:t>Mastertextformat bearbeiten</a:t>
            </a:r>
          </a:p>
        </p:txBody>
      </p:sp>
      <p:sp>
        <p:nvSpPr>
          <p:cNvPr id="9" name="PULS">
            <a:extLst>
              <a:ext uri="{FF2B5EF4-FFF2-40B4-BE49-F238E27FC236}">
                <a16:creationId xmlns:a16="http://schemas.microsoft.com/office/drawing/2014/main" id="{8E205B2A-24B4-4B2B-B293-149CBCB8D491}"/>
              </a:ext>
            </a:extLst>
          </p:cNvPr>
          <p:cNvSpPr>
            <a:spLocks noGrp="1"/>
          </p:cNvSpPr>
          <p:nvPr>
            <p:ph type="body" sz="quarter" idx="17"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Tree>
    <p:extLst>
      <p:ext uri="{BB962C8B-B14F-4D97-AF65-F5344CB8AC3E}">
        <p14:creationId xmlns:p14="http://schemas.microsoft.com/office/powerpoint/2010/main" val="1951298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ild mit Titel (Logo Rot)">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solidFill>
                  <a:schemeClr val="bg1"/>
                </a:solidFill>
              </a:defRPr>
            </a:lvl1pPr>
          </a:lstStyle>
          <a:p>
            <a:r>
              <a:rPr lang="de-DE"/>
              <a:t>Bild durch Klicken auf Symbol hinzufüg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PULS">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DBLOGO">
            <a:extLst>
              <a:ext uri="{FF2B5EF4-FFF2-40B4-BE49-F238E27FC236}">
                <a16:creationId xmlns:a16="http://schemas.microsoft.com/office/drawing/2014/main" id="{63C11FEC-D812-4EB3-9A64-42F1696D70D4}"/>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
        <p:nvSpPr>
          <p:cNvPr id="3" name="Titel 2">
            <a:extLst>
              <a:ext uri="{FF2B5EF4-FFF2-40B4-BE49-F238E27FC236}">
                <a16:creationId xmlns:a16="http://schemas.microsoft.com/office/drawing/2014/main" id="{152ACBF4-EBE4-4F98-8E18-5619C05FB6DA}"/>
              </a:ext>
            </a:extLst>
          </p:cNvPr>
          <p:cNvSpPr>
            <a:spLocks noGrp="1"/>
          </p:cNvSpPr>
          <p:nvPr>
            <p:ph type="title"/>
          </p:nvPr>
        </p:nvSpPr>
        <p:spPr/>
        <p:txBody>
          <a:bodyPr/>
          <a:lstStyle>
            <a:lvl1pPr>
              <a:defRPr>
                <a:solidFill>
                  <a:schemeClr val="bg1"/>
                </a:solidFill>
              </a:defRPr>
            </a:lvl1pPr>
          </a:lstStyle>
          <a:p>
            <a:r>
              <a:rPr lang="de-DE"/>
              <a:t>Mastertitelformat bearbeiten</a:t>
            </a:r>
          </a:p>
        </p:txBody>
      </p:sp>
    </p:spTree>
    <p:extLst>
      <p:ext uri="{BB962C8B-B14F-4D97-AF65-F5344CB8AC3E}">
        <p14:creationId xmlns:p14="http://schemas.microsoft.com/office/powerpoint/2010/main" val="42099300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ld mit Titel (Logo Weiß)">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solidFill>
                  <a:schemeClr val="bg1"/>
                </a:solidFill>
              </a:defRPr>
            </a:lvl1pPr>
          </a:lstStyle>
          <a:p>
            <a:r>
              <a:rPr lang="de-DE"/>
              <a:t>Bild durch Klicken auf Symbol hinzufüg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PULS">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DBLOGO">
            <a:extLst>
              <a:ext uri="{FF2B5EF4-FFF2-40B4-BE49-F238E27FC236}">
                <a16:creationId xmlns:a16="http://schemas.microsoft.com/office/drawing/2014/main" id="{63C11FEC-D812-4EB3-9A64-42F1696D70D4}"/>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
        <p:nvSpPr>
          <p:cNvPr id="3" name="Titel 2">
            <a:extLst>
              <a:ext uri="{FF2B5EF4-FFF2-40B4-BE49-F238E27FC236}">
                <a16:creationId xmlns:a16="http://schemas.microsoft.com/office/drawing/2014/main" id="{152ACBF4-EBE4-4F98-8E18-5619C05FB6DA}"/>
              </a:ext>
            </a:extLst>
          </p:cNvPr>
          <p:cNvSpPr>
            <a:spLocks noGrp="1"/>
          </p:cNvSpPr>
          <p:nvPr>
            <p:ph type="title"/>
          </p:nvPr>
        </p:nvSpPr>
        <p:spPr/>
        <p:txBody>
          <a:bodyPr/>
          <a:lstStyle>
            <a:lvl1pPr>
              <a:defRPr>
                <a:solidFill>
                  <a:schemeClr val="bg1"/>
                </a:solidFill>
              </a:defRPr>
            </a:lvl1pPr>
          </a:lstStyle>
          <a:p>
            <a:r>
              <a:rPr lang="de-DE"/>
              <a:t>Mastertitelformat bearbeiten</a:t>
            </a:r>
          </a:p>
        </p:txBody>
      </p:sp>
    </p:spTree>
    <p:extLst>
      <p:ext uri="{BB962C8B-B14F-4D97-AF65-F5344CB8AC3E}">
        <p14:creationId xmlns:p14="http://schemas.microsoft.com/office/powerpoint/2010/main" val="14155251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p>
            <a:fld id="{913D9F7D-0C28-4C21-AA99-7C67E34F632A}" type="slidenum">
              <a:rPr lang="de-DE" smtClean="0"/>
              <a:t>‹#›</a:t>
            </a:fld>
            <a:endParaRPr lang="de-DE"/>
          </a:p>
        </p:txBody>
      </p:sp>
    </p:spTree>
    <p:extLst>
      <p:ext uri="{BB962C8B-B14F-4D97-AF65-F5344CB8AC3E}">
        <p14:creationId xmlns:p14="http://schemas.microsoft.com/office/powerpoint/2010/main" val="2193168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ur Titel (Grau)">
    <p:bg>
      <p:bgPr>
        <a:solidFill>
          <a:schemeClr val="accent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p>
            <a:fld id="{913D9F7D-0C28-4C21-AA99-7C67E34F632A}" type="slidenum">
              <a:rPr lang="de-DE" smtClean="0"/>
              <a:t>‹#›</a:t>
            </a:fld>
            <a:endParaRPr lang="de-DE"/>
          </a:p>
        </p:txBody>
      </p:sp>
    </p:spTree>
    <p:extLst>
      <p:ext uri="{BB962C8B-B14F-4D97-AF65-F5344CB8AC3E}">
        <p14:creationId xmlns:p14="http://schemas.microsoft.com/office/powerpoint/2010/main" val="16316130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F36FC954-2F44-964F-86CF-E29D3A207F4F}"/>
              </a:ext>
            </a:extLst>
          </p:cNvPr>
          <p:cNvSpPr>
            <a:spLocks noGrp="1"/>
          </p:cNvSpPr>
          <p:nvPr>
            <p:ph type="body" sz="quarter" idx="12" hasCustomPrompt="1"/>
          </p:nvPr>
        </p:nvSpPr>
        <p:spPr>
          <a:xfrm>
            <a:off x="1724025" y="1568450"/>
            <a:ext cx="9180409" cy="3721100"/>
          </a:xfrm>
          <a:prstGeom prst="rect">
            <a:avLst/>
          </a:prstGeom>
        </p:spPr>
        <p:txBody>
          <a:bodyPr anchor="ctr"/>
          <a:lstStyle>
            <a:lvl1pPr marL="514350" indent="-514350">
              <a:buClr>
                <a:schemeClr val="accent2"/>
              </a:buClr>
              <a:buSzPct val="50000"/>
              <a:buFont typeface="+mj-lt"/>
              <a:buAutoNum type="arabicPeriod"/>
              <a:defRPr sz="5500" b="1" i="0">
                <a:solidFill>
                  <a:schemeClr val="accent2"/>
                </a:solidFill>
                <a:latin typeface="Calibri" panose="020F0502020204030204" pitchFamily="34" charset="0"/>
                <a:cs typeface="Calibri" panose="020F0502020204030204" pitchFamily="34" charset="0"/>
              </a:defRPr>
            </a:lvl1pPr>
          </a:lstStyle>
          <a:p>
            <a:pPr lvl="0"/>
            <a:r>
              <a:rPr lang="nl-NL" err="1"/>
              <a:t>Chaptertitle</a:t>
            </a:r>
            <a:endParaRPr lang="nl-NL"/>
          </a:p>
          <a:p>
            <a:pPr lvl="0"/>
            <a:r>
              <a:rPr lang="nl-NL" err="1"/>
              <a:t>Chapter</a:t>
            </a:r>
            <a:r>
              <a:rPr lang="nl-BE" err="1"/>
              <a:t>title</a:t>
            </a:r>
            <a:endParaRPr lang="nl-BE"/>
          </a:p>
          <a:p>
            <a:pPr lvl="0"/>
            <a:r>
              <a:rPr lang="nl-NL" err="1"/>
              <a:t>Chapter</a:t>
            </a:r>
            <a:r>
              <a:rPr lang="nl-BE" err="1"/>
              <a:t>title</a:t>
            </a:r>
            <a:endParaRPr lang="nl-BE"/>
          </a:p>
        </p:txBody>
      </p:sp>
      <p:pic>
        <p:nvPicPr>
          <p:cNvPr id="12" name="Afbeelding 11">
            <a:extLst>
              <a:ext uri="{FF2B5EF4-FFF2-40B4-BE49-F238E27FC236}">
                <a16:creationId xmlns:a16="http://schemas.microsoft.com/office/drawing/2014/main" id="{34A00E1B-6954-564A-AF5B-F8E0E07540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3" name="Afbeelding 12">
            <a:extLst>
              <a:ext uri="{FF2B5EF4-FFF2-40B4-BE49-F238E27FC236}">
                <a16:creationId xmlns:a16="http://schemas.microsoft.com/office/drawing/2014/main" id="{38DA4520-533D-FC46-B423-04FB72E241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Tree>
    <p:extLst>
      <p:ext uri="{BB962C8B-B14F-4D97-AF65-F5344CB8AC3E}">
        <p14:creationId xmlns:p14="http://schemas.microsoft.com/office/powerpoint/2010/main" val="42823683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A86CD97-5D9A-4DD7-8FA9-F028A03BBCF3}"/>
              </a:ext>
            </a:extLst>
          </p:cNvPr>
          <p:cNvSpPr>
            <a:spLocks noGrp="1"/>
          </p:cNvSpPr>
          <p:nvPr>
            <p:ph type="ftr" sz="quarter" idx="11"/>
          </p:nvPr>
        </p:nvSpPr>
        <p:spPr/>
        <p:txBody>
          <a:bodyPr/>
          <a:lstStyle/>
          <a:p>
            <a:r>
              <a:rPr lang="de-DE"/>
              <a:t>© DB Regio AG | R.RBE Eisenbahnbetriebsleiter</a:t>
            </a:r>
          </a:p>
        </p:txBody>
      </p:sp>
      <p:sp>
        <p:nvSpPr>
          <p:cNvPr id="4" name="Foliennummernplatzhalter 3">
            <a:extLst>
              <a:ext uri="{FF2B5EF4-FFF2-40B4-BE49-F238E27FC236}">
                <a16:creationId xmlns:a16="http://schemas.microsoft.com/office/drawing/2014/main" id="{035940B9-9206-49A7-9C4C-F7D534506321}"/>
              </a:ext>
            </a:extLst>
          </p:cNvPr>
          <p:cNvSpPr>
            <a:spLocks noGrp="1"/>
          </p:cNvSpPr>
          <p:nvPr>
            <p:ph type="sldNum" sz="quarter" idx="12"/>
          </p:nvPr>
        </p:nvSpPr>
        <p:spPr/>
        <p:txBody>
          <a:bodyPr/>
          <a:lstStyle/>
          <a:p>
            <a:fld id="{913D9F7D-0C28-4C21-AA99-7C67E34F632A}" type="slidenum">
              <a:rPr lang="de-DE" smtClean="0"/>
              <a:t>‹#›</a:t>
            </a:fld>
            <a:endParaRPr lang="de-DE"/>
          </a:p>
        </p:txBody>
      </p:sp>
    </p:spTree>
    <p:extLst>
      <p:ext uri="{BB962C8B-B14F-4D97-AF65-F5344CB8AC3E}">
        <p14:creationId xmlns:p14="http://schemas.microsoft.com/office/powerpoint/2010/main" val="23305148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tement (Logo Rot)">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noFill/>
        </p:spPr>
        <p:txBody>
          <a:bodyPr anchor="ctr"/>
          <a:lstStyle>
            <a:lvl1pPr marL="0" indent="0" algn="ctr">
              <a:buNone/>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a:xfrm>
            <a:off x="11300027" y="6538648"/>
            <a:ext cx="520498" cy="216024"/>
          </a:xfrm>
        </p:spPr>
        <p:txBody>
          <a:bodyPr/>
          <a:lstStyle>
            <a:lvl1pPr>
              <a:defRPr>
                <a:solidFill>
                  <a:schemeClr val="bg1"/>
                </a:solidFill>
              </a:defRPr>
            </a:lvl1pPr>
          </a:lstStyle>
          <a:p>
            <a:fld id="{913D9F7D-0C28-4C21-AA99-7C67E34F632A}" type="slidenum">
              <a:rPr lang="de-DE" smtClean="0"/>
              <a:pPr/>
              <a:t>‹#›</a:t>
            </a:fld>
            <a:endParaRPr lang="de-DE"/>
          </a:p>
        </p:txBody>
      </p:sp>
      <p:sp>
        <p:nvSpPr>
          <p:cNvPr id="9" name="PULS">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7">
            <a:extLst>
              <a:ext uri="{FF2B5EF4-FFF2-40B4-BE49-F238E27FC236}">
                <a16:creationId xmlns:a16="http://schemas.microsoft.com/office/drawing/2014/main" id="{23A1144C-097B-48B5-A5B0-A4ECB476BAF9}"/>
              </a:ext>
            </a:extLst>
          </p:cNvPr>
          <p:cNvSpPr>
            <a:spLocks noGrp="1"/>
          </p:cNvSpPr>
          <p:nvPr>
            <p:ph type="body" sz="quarter" idx="19" hasCustomPrompt="1"/>
          </p:nvPr>
        </p:nvSpPr>
        <p:spPr>
          <a:xfrm>
            <a:off x="334963" y="2096852"/>
            <a:ext cx="11521677" cy="1231349"/>
          </a:xfrm>
        </p:spPr>
        <p:txBody>
          <a:bodyPr/>
          <a:lstStyle>
            <a:lvl1pPr marL="0" indent="0">
              <a:buNone/>
              <a:defRPr sz="8500">
                <a:solidFill>
                  <a:schemeClr val="bg1"/>
                </a:solidFill>
                <a:latin typeface="+mj-lt"/>
              </a:defRPr>
            </a:lvl1pPr>
          </a:lstStyle>
          <a:p>
            <a:pPr lvl="0"/>
            <a:r>
              <a:rPr lang="de-DE"/>
              <a:t>Statement</a:t>
            </a:r>
          </a:p>
        </p:txBody>
      </p:sp>
      <p:sp>
        <p:nvSpPr>
          <p:cNvPr id="10" name="DBLOGO">
            <a:extLst>
              <a:ext uri="{FF2B5EF4-FFF2-40B4-BE49-F238E27FC236}">
                <a16:creationId xmlns:a16="http://schemas.microsoft.com/office/drawing/2014/main" id="{29D23199-76B3-4E3B-A68D-B7F401D7BB76}"/>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19035660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tatement (Logo Weiß)">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noFill/>
        </p:spPr>
        <p:txBody>
          <a:bodyPr anchor="ctr"/>
          <a:lstStyle>
            <a:lvl1pPr marL="0" indent="0" algn="ctr">
              <a:buNone/>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PULS">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7">
            <a:extLst>
              <a:ext uri="{FF2B5EF4-FFF2-40B4-BE49-F238E27FC236}">
                <a16:creationId xmlns:a16="http://schemas.microsoft.com/office/drawing/2014/main" id="{23A1144C-097B-48B5-A5B0-A4ECB476BAF9}"/>
              </a:ext>
            </a:extLst>
          </p:cNvPr>
          <p:cNvSpPr>
            <a:spLocks noGrp="1"/>
          </p:cNvSpPr>
          <p:nvPr>
            <p:ph type="body" sz="quarter" idx="19" hasCustomPrompt="1"/>
          </p:nvPr>
        </p:nvSpPr>
        <p:spPr>
          <a:xfrm>
            <a:off x="334963" y="2096852"/>
            <a:ext cx="11521677" cy="1231349"/>
          </a:xfrm>
        </p:spPr>
        <p:txBody>
          <a:bodyPr/>
          <a:lstStyle>
            <a:lvl1pPr marL="0" indent="0">
              <a:buNone/>
              <a:defRPr sz="8500">
                <a:solidFill>
                  <a:schemeClr val="bg1"/>
                </a:solidFill>
                <a:latin typeface="+mj-lt"/>
              </a:defRPr>
            </a:lvl1pPr>
          </a:lstStyle>
          <a:p>
            <a:pPr lvl="0"/>
            <a:r>
              <a:rPr lang="de-DE"/>
              <a:t>Statement</a:t>
            </a:r>
          </a:p>
        </p:txBody>
      </p:sp>
      <p:sp>
        <p:nvSpPr>
          <p:cNvPr id="10" name="DBLOGO">
            <a:extLst>
              <a:ext uri="{FF2B5EF4-FFF2-40B4-BE49-F238E27FC236}">
                <a16:creationId xmlns:a16="http://schemas.microsoft.com/office/drawing/2014/main" id="{29D23199-76B3-4E3B-A68D-B7F401D7BB76}"/>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4900998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Zitat (Logo Rot)">
    <p:spTree>
      <p:nvGrpSpPr>
        <p:cNvPr id="1" name=""/>
        <p:cNvGrpSpPr/>
        <p:nvPr/>
      </p:nvGrpSpPr>
      <p:grpSpPr>
        <a:xfrm>
          <a:off x="0" y="0"/>
          <a:ext cx="0" cy="0"/>
          <a:chOff x="0" y="0"/>
          <a:chExt cx="0" cy="0"/>
        </a:xfrm>
      </p:grpSpPr>
      <p:sp>
        <p:nvSpPr>
          <p:cNvPr id="13" name="Medienplatzhalter 4">
            <a:extLst>
              <a:ext uri="{FF2B5EF4-FFF2-40B4-BE49-F238E27FC236}">
                <a16:creationId xmlns:a16="http://schemas.microsoft.com/office/drawing/2014/main" id="{3348C025-EC14-4E25-AA69-4FBB23BF31B0}"/>
              </a:ext>
            </a:extLst>
          </p:cNvPr>
          <p:cNvSpPr>
            <a:spLocks noGrp="1"/>
          </p:cNvSpPr>
          <p:nvPr>
            <p:ph type="media" sz="quarter" idx="10"/>
          </p:nvPr>
        </p:nvSpPr>
        <p:spPr>
          <a:xfrm>
            <a:off x="0" y="0"/>
            <a:ext cx="12192000" cy="6858000"/>
          </a:xfrm>
          <a:solidFill>
            <a:schemeClr val="bg1">
              <a:lumMod val="50000"/>
            </a:schemeClr>
          </a:solidFill>
        </p:spPr>
        <p:txBody>
          <a:bodyPr anchor="ctr"/>
          <a:lstStyle>
            <a:lvl1pPr marL="0" indent="0" algn="ctr">
              <a:buNone/>
              <a:defRPr/>
            </a:lvl1pPr>
          </a:lstStyle>
          <a:p>
            <a:r>
              <a:rPr lang="de-DE"/>
              <a:t>Mediaclip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0" y="0"/>
            <a:ext cx="12192000" cy="6858000"/>
          </a:xfrm>
          <a:solidFill>
            <a:schemeClr val="tx1">
              <a:alpha val="30000"/>
            </a:schemeClr>
          </a:solidFill>
        </p:spPr>
        <p:txBody>
          <a:bodyPr lIns="324000" tIns="324000" rIns="324000" bIns="2412000" anchor="b"/>
          <a:lstStyle>
            <a:lvl1pPr algn="ctr">
              <a:defRPr sz="60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a:xfrm>
            <a:off x="371475" y="6538648"/>
            <a:ext cx="10602000" cy="216024"/>
          </a:xfrm>
        </p:spPr>
        <p:txBody>
          <a:bodyPr/>
          <a:lstStyle>
            <a:lvl1pPr>
              <a:defRPr>
                <a:solidFill>
                  <a:schemeClr val="bg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a:xfrm>
            <a:off x="371475" y="5208436"/>
            <a:ext cx="11449050" cy="920902"/>
          </a:xfrm>
        </p:spPr>
        <p:txBody>
          <a:bodyPr/>
          <a:lstStyle>
            <a:lvl1pPr marL="0" indent="0" algn="ctr">
              <a:buNone/>
              <a:defRPr sz="1600">
                <a:solidFill>
                  <a:schemeClr val="bg1"/>
                </a:solidFill>
              </a:defRPr>
            </a:lvl1pPr>
          </a:lstStyle>
          <a:p>
            <a:pPr lvl="0"/>
            <a:r>
              <a:rPr lang="de-DE"/>
              <a:t>Vorname Nach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5486313" y="4905164"/>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PULS">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DBLOGO">
            <a:extLst>
              <a:ext uri="{FF2B5EF4-FFF2-40B4-BE49-F238E27FC236}">
                <a16:creationId xmlns:a16="http://schemas.microsoft.com/office/drawing/2014/main" id="{E1612367-6D73-48B9-86F0-04DA0715BB26}"/>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marL="0" indent="0">
              <a:buNone/>
              <a:defRPr lang="de-DE" sz="1000" dirty="0">
                <a:solidFill>
                  <a:schemeClr val="bg1"/>
                </a:solidFill>
              </a:defRPr>
            </a:lvl1pPr>
          </a:lstStyle>
          <a:p>
            <a:pPr marL="182563" lvl="0" indent="-182563"/>
            <a:r>
              <a:rPr lang="de-DE"/>
              <a:t> </a:t>
            </a:r>
          </a:p>
        </p:txBody>
      </p:sp>
    </p:spTree>
    <p:extLst>
      <p:ext uri="{BB962C8B-B14F-4D97-AF65-F5344CB8AC3E}">
        <p14:creationId xmlns:p14="http://schemas.microsoft.com/office/powerpoint/2010/main" val="42664017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Zitat (Logo Weiß)">
    <p:spTree>
      <p:nvGrpSpPr>
        <p:cNvPr id="1" name=""/>
        <p:cNvGrpSpPr/>
        <p:nvPr/>
      </p:nvGrpSpPr>
      <p:grpSpPr>
        <a:xfrm>
          <a:off x="0" y="0"/>
          <a:ext cx="0" cy="0"/>
          <a:chOff x="0" y="0"/>
          <a:chExt cx="0" cy="0"/>
        </a:xfrm>
      </p:grpSpPr>
      <p:sp>
        <p:nvSpPr>
          <p:cNvPr id="13" name="Medienplatzhalter 4">
            <a:extLst>
              <a:ext uri="{FF2B5EF4-FFF2-40B4-BE49-F238E27FC236}">
                <a16:creationId xmlns:a16="http://schemas.microsoft.com/office/drawing/2014/main" id="{3348C025-EC14-4E25-AA69-4FBB23BF31B0}"/>
              </a:ext>
            </a:extLst>
          </p:cNvPr>
          <p:cNvSpPr>
            <a:spLocks noGrp="1"/>
          </p:cNvSpPr>
          <p:nvPr>
            <p:ph type="media" sz="quarter" idx="10"/>
          </p:nvPr>
        </p:nvSpPr>
        <p:spPr>
          <a:xfrm>
            <a:off x="0" y="0"/>
            <a:ext cx="12192000" cy="6858000"/>
          </a:xfrm>
          <a:solidFill>
            <a:schemeClr val="bg1">
              <a:lumMod val="50000"/>
            </a:schemeClr>
          </a:solidFill>
        </p:spPr>
        <p:txBody>
          <a:bodyPr anchor="ctr"/>
          <a:lstStyle>
            <a:lvl1pPr marL="0" indent="0" algn="ctr">
              <a:buNone/>
              <a:defRPr/>
            </a:lvl1pPr>
          </a:lstStyle>
          <a:p>
            <a:r>
              <a:rPr lang="de-DE"/>
              <a:t>Mediaclip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0" y="0"/>
            <a:ext cx="12192000" cy="6858000"/>
          </a:xfrm>
          <a:solidFill>
            <a:schemeClr val="tx1">
              <a:alpha val="30000"/>
            </a:schemeClr>
          </a:solidFill>
        </p:spPr>
        <p:txBody>
          <a:bodyPr lIns="324000" tIns="324000" rIns="324000" bIns="2412000" anchor="b"/>
          <a:lstStyle>
            <a:lvl1pPr algn="ctr">
              <a:defRPr sz="60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a:xfrm>
            <a:off x="371475" y="6538648"/>
            <a:ext cx="10602000" cy="216024"/>
          </a:xfrm>
        </p:spPr>
        <p:txBody>
          <a:bodyPr/>
          <a:lstStyle>
            <a:lvl1pPr>
              <a:defRPr>
                <a:solidFill>
                  <a:schemeClr val="bg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a:xfrm>
            <a:off x="371475" y="5208436"/>
            <a:ext cx="11449050" cy="935486"/>
          </a:xfrm>
        </p:spPr>
        <p:txBody>
          <a:bodyPr/>
          <a:lstStyle>
            <a:lvl1pPr marL="0" indent="0" algn="ctr">
              <a:buNone/>
              <a:defRPr sz="1600">
                <a:solidFill>
                  <a:schemeClr val="bg1"/>
                </a:solidFill>
              </a:defRPr>
            </a:lvl1pPr>
          </a:lstStyle>
          <a:p>
            <a:pPr lvl="0"/>
            <a:r>
              <a:rPr lang="de-DE"/>
              <a:t>Vorname Nach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5486313" y="4905164"/>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PULS">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DBLOGO">
            <a:extLst>
              <a:ext uri="{FF2B5EF4-FFF2-40B4-BE49-F238E27FC236}">
                <a16:creationId xmlns:a16="http://schemas.microsoft.com/office/drawing/2014/main" id="{E1612367-6D73-48B9-86F0-04DA0715BB26}"/>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marL="0" indent="0">
              <a:buFontTx/>
              <a:buNone/>
              <a:defRPr lang="de-DE" sz="1000" dirty="0">
                <a:solidFill>
                  <a:schemeClr val="bg1"/>
                </a:solidFill>
              </a:defRPr>
            </a:lvl1pPr>
          </a:lstStyle>
          <a:p>
            <a:pPr marL="182563" lvl="0" indent="-182563"/>
            <a:r>
              <a:rPr lang="de-DE"/>
              <a:t> </a:t>
            </a:r>
          </a:p>
        </p:txBody>
      </p:sp>
    </p:spTree>
    <p:extLst>
      <p:ext uri="{BB962C8B-B14F-4D97-AF65-F5344CB8AC3E}">
        <p14:creationId xmlns:p14="http://schemas.microsoft.com/office/powerpoint/2010/main" val="42922992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de (Bild)">
    <p:bg>
      <p:bgPr>
        <a:solidFill>
          <a:schemeClr val="tx1">
            <a:alpha val="84000"/>
          </a:schemeClr>
        </a:solidFill>
        <a:effectLst/>
      </p:bgPr>
    </p:bg>
    <p:spTree>
      <p:nvGrpSpPr>
        <p:cNvPr id="1" name=""/>
        <p:cNvGrpSpPr/>
        <p:nvPr/>
      </p:nvGrpSpPr>
      <p:grpSpPr>
        <a:xfrm>
          <a:off x="0" y="0"/>
          <a:ext cx="0" cy="0"/>
          <a:chOff x="0" y="0"/>
          <a:chExt cx="0" cy="0"/>
        </a:xfrm>
      </p:grpSpPr>
      <p:sp>
        <p:nvSpPr>
          <p:cNvPr id="3" name="Bildplatzhalter 10">
            <a:extLst>
              <a:ext uri="{FF2B5EF4-FFF2-40B4-BE49-F238E27FC236}">
                <a16:creationId xmlns:a16="http://schemas.microsoft.com/office/drawing/2014/main" id="{88E6BB85-2CD9-4C46-9692-3B22C74A1300}"/>
              </a:ext>
            </a:extLst>
          </p:cNvPr>
          <p:cNvSpPr>
            <a:spLocks noGrp="1"/>
          </p:cNvSpPr>
          <p:nvPr>
            <p:ph type="pic" sz="quarter" idx="15"/>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a:xfrm>
            <a:off x="371476" y="2436127"/>
            <a:ext cx="11449050" cy="3693211"/>
          </a:xfrm>
        </p:spPr>
        <p:txBody>
          <a:bodyPr/>
          <a:lstStyle>
            <a:lvl1pPr algn="ctr">
              <a:defRPr sz="8000">
                <a:solidFill>
                  <a:schemeClr val="bg1"/>
                </a:solidFill>
              </a:defRPr>
            </a:lvl1pPr>
          </a:lstStyle>
          <a:p>
            <a:r>
              <a:rPr lang="de-DE"/>
              <a:t>Mastertitelformat bearbeiten</a:t>
            </a:r>
          </a:p>
        </p:txBody>
      </p:sp>
    </p:spTree>
    <p:extLst>
      <p:ext uri="{BB962C8B-B14F-4D97-AF65-F5344CB8AC3E}">
        <p14:creationId xmlns:p14="http://schemas.microsoft.com/office/powerpoint/2010/main" val="4885483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Only" preserve="1">
  <p:cSld name="Ende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a:xfrm>
            <a:off x="371476" y="2436127"/>
            <a:ext cx="11449050" cy="3693211"/>
          </a:xfrm>
        </p:spPr>
        <p:txBody>
          <a:bodyPr/>
          <a:lstStyle>
            <a:lvl1pPr algn="ctr">
              <a:defRPr sz="8000">
                <a:solidFill>
                  <a:schemeClr val="bg1"/>
                </a:solidFill>
              </a:defRPr>
            </a:lvl1pPr>
          </a:lstStyle>
          <a:p>
            <a:r>
              <a:rPr lang="de-DE"/>
              <a:t>Mastertitelformat bearbeiten</a:t>
            </a:r>
          </a:p>
        </p:txBody>
      </p:sp>
    </p:spTree>
    <p:extLst>
      <p:ext uri="{BB962C8B-B14F-4D97-AF65-F5344CB8AC3E}">
        <p14:creationId xmlns:p14="http://schemas.microsoft.com/office/powerpoint/2010/main" val="21707945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ld_Agenda">
    <p:spTree>
      <p:nvGrpSpPr>
        <p:cNvPr id="1" name=""/>
        <p:cNvGrpSpPr/>
        <p:nvPr/>
      </p:nvGrpSpPr>
      <p:grpSpPr>
        <a:xfrm>
          <a:off x="0" y="0"/>
          <a:ext cx="0" cy="0"/>
          <a:chOff x="0" y="0"/>
          <a:chExt cx="0" cy="0"/>
        </a:xfrm>
      </p:grpSpPr>
      <p:pic>
        <p:nvPicPr>
          <p:cNvPr id="16" name="easyBackground_Agenda">
            <a:extLst>
              <a:ext uri="{FF2B5EF4-FFF2-40B4-BE49-F238E27FC236}">
                <a16:creationId xmlns:a16="http://schemas.microsoft.com/office/drawing/2014/main" id="{27357142-6084-428B-8ECF-A7ACDE390228}"/>
              </a:ext>
            </a:extLst>
          </p:cNvPr>
          <p:cNvPicPr preferRelativeResize="0">
            <a:picLocks/>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1"/>
          </a:xfrm>
          <a:prstGeom prst="rect">
            <a:avLst/>
          </a:prstGeom>
        </p:spPr>
      </p:pic>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a:solidFill>
                  <a:schemeClr val="bg1"/>
                </a:solidFill>
              </a:defRPr>
            </a:lvl1pPr>
          </a:lstStyle>
          <a:p>
            <a:r>
              <a:rPr lang="de-DE"/>
              <a:t>© DB Regio AG | R.RBE Eisenbahnbetriebsleiter</a:t>
            </a: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defRPr>
            </a:lvl1pPr>
          </a:lstStyle>
          <a:p>
            <a:fld id="{913D9F7D-0C28-4C21-AA99-7C67E34F632A}" type="slidenum">
              <a:rPr lang="de-DE" smtClean="0"/>
              <a:pPr/>
              <a:t>‹#›</a:t>
            </a:fld>
            <a:endParaRPr lang="de-DE"/>
          </a:p>
        </p:txBody>
      </p:sp>
      <p:sp>
        <p:nvSpPr>
          <p:cNvPr id="7" name="Textplatzhalter 6">
            <a:extLst>
              <a:ext uri="{FF2B5EF4-FFF2-40B4-BE49-F238E27FC236}">
                <a16:creationId xmlns:a16="http://schemas.microsoft.com/office/drawing/2014/main" id="{4DAC0F8B-4A4D-455D-8D50-154C31AA3BE0}"/>
              </a:ext>
            </a:extLst>
          </p:cNvPr>
          <p:cNvSpPr>
            <a:spLocks noGrp="1"/>
          </p:cNvSpPr>
          <p:nvPr>
            <p:ph type="body" sz="quarter" idx="16" hasCustomPrompt="1"/>
          </p:nvPr>
        </p:nvSpPr>
        <p:spPr>
          <a:xfrm>
            <a:off x="11287836" y="6475761"/>
            <a:ext cx="532800" cy="54000"/>
          </a:xfrm>
          <a:prstGeom prst="roundRect">
            <a:avLst>
              <a:gd name="adj" fmla="val 50000"/>
            </a:avLst>
          </a:prstGeom>
          <a:solidFill>
            <a:schemeClr val="accent2"/>
          </a:solidFill>
        </p:spPr>
        <p:txBody>
          <a:bodyPr/>
          <a:lstStyle>
            <a:lvl1pPr marL="0" indent="0">
              <a:buNone/>
              <a:defRPr sz="800">
                <a:solidFill>
                  <a:schemeClr val="bg1"/>
                </a:solidFill>
              </a:defRPr>
            </a:lvl1pPr>
            <a:lvl2pPr marL="271456" indent="0">
              <a:buNone/>
              <a:defRPr/>
            </a:lvl2pPr>
          </a:lstStyle>
          <a:p>
            <a:pPr lvl="0"/>
            <a:r>
              <a:rPr lang="de-DE"/>
              <a:t> </a:t>
            </a:r>
          </a:p>
        </p:txBody>
      </p:sp>
      <p:sp>
        <p:nvSpPr>
          <p:cNvPr id="11" name="DBLOGO">
            <a:extLst>
              <a:ext uri="{FF2B5EF4-FFF2-40B4-BE49-F238E27FC236}">
                <a16:creationId xmlns:a16="http://schemas.microsoft.com/office/drawing/2014/main" id="{4747C28C-A3D8-4E68-86B1-665C6A34EBF3}"/>
              </a:ext>
            </a:extLst>
          </p:cNvPr>
          <p:cNvSpPr>
            <a:spLocks noGrp="1"/>
          </p:cNvSpPr>
          <p:nvPr>
            <p:ph type="body" sz="quarter" idx="18" hasCustomPrompt="1"/>
          </p:nvPr>
        </p:nvSpPr>
        <p:spPr>
          <a:xfrm>
            <a:off x="11280525" y="368660"/>
            <a:ext cx="540000" cy="378000"/>
          </a:xfrm>
          <a:blipFill>
            <a:blip r:embed="rId3"/>
            <a:stretch>
              <a:fillRect/>
            </a:stretch>
          </a:blipFill>
        </p:spPr>
        <p:txBody>
          <a:bodyPr vert="horz" lIns="0" tIns="0" rIns="0" bIns="0" rtlCol="0" anchor="t" anchorCtr="0">
            <a:noAutofit/>
          </a:bodyPr>
          <a:lstStyle>
            <a:lvl1pPr marL="0" indent="0">
              <a:buFontTx/>
              <a:buNone/>
              <a:defRPr lang="de-DE" sz="1000" dirty="0">
                <a:solidFill>
                  <a:schemeClr val="bg1"/>
                </a:solidFill>
              </a:defRPr>
            </a:lvl1pPr>
          </a:lstStyle>
          <a:p>
            <a:pPr marL="182563" lvl="0" indent="-182563"/>
            <a:r>
              <a:rPr lang="de-DE"/>
              <a:t> </a:t>
            </a:r>
          </a:p>
        </p:txBody>
      </p:sp>
    </p:spTree>
    <p:extLst>
      <p:ext uri="{BB962C8B-B14F-4D97-AF65-F5344CB8AC3E}">
        <p14:creationId xmlns:p14="http://schemas.microsoft.com/office/powerpoint/2010/main" val="13805339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e (Logo)">
    <p:spTree>
      <p:nvGrpSpPr>
        <p:cNvPr id="1" name=""/>
        <p:cNvGrpSpPr/>
        <p:nvPr/>
      </p:nvGrpSpPr>
      <p:grpSpPr>
        <a:xfrm>
          <a:off x="0" y="0"/>
          <a:ext cx="0" cy="0"/>
          <a:chOff x="0" y="0"/>
          <a:chExt cx="0" cy="0"/>
        </a:xfrm>
      </p:grpSpPr>
      <p:sp>
        <p:nvSpPr>
          <p:cNvPr id="5" name="Medienplatzhalter 4">
            <a:extLst>
              <a:ext uri="{FF2B5EF4-FFF2-40B4-BE49-F238E27FC236}">
                <a16:creationId xmlns:a16="http://schemas.microsoft.com/office/drawing/2014/main" id="{F620A319-D564-4D18-92D7-8995EC1B261E}"/>
              </a:ext>
            </a:extLst>
          </p:cNvPr>
          <p:cNvSpPr>
            <a:spLocks noGrp="1"/>
          </p:cNvSpPr>
          <p:nvPr>
            <p:ph type="media" sz="quarter" idx="10"/>
          </p:nvPr>
        </p:nvSpPr>
        <p:spPr>
          <a:xfrm>
            <a:off x="0" y="0"/>
            <a:ext cx="12192000" cy="6858000"/>
          </a:xfrm>
          <a:solidFill>
            <a:schemeClr val="bg1">
              <a:lumMod val="75000"/>
            </a:schemeClr>
          </a:solidFill>
        </p:spPr>
        <p:txBody>
          <a:bodyPr anchor="ctr"/>
          <a:lstStyle>
            <a:lvl1pPr marL="0" indent="0" algn="ctr">
              <a:buNone/>
              <a:defRPr/>
            </a:lvl1pPr>
          </a:lstStyle>
          <a:p>
            <a:r>
              <a:rPr lang="de-DE"/>
              <a:t>Mediaclip durch Klicken auf Symbol hinzufügen</a:t>
            </a:r>
          </a:p>
        </p:txBody>
      </p:sp>
      <p:sp>
        <p:nvSpPr>
          <p:cNvPr id="6" name="DBLOGO">
            <a:extLst>
              <a:ext uri="{FF2B5EF4-FFF2-40B4-BE49-F238E27FC236}">
                <a16:creationId xmlns:a16="http://schemas.microsoft.com/office/drawing/2014/main" id="{11586949-1E99-4A43-99E8-BFF2DE8AE5C9}"/>
              </a:ext>
            </a:extLst>
          </p:cNvPr>
          <p:cNvSpPr>
            <a:spLocks noGrp="1"/>
          </p:cNvSpPr>
          <p:nvPr>
            <p:ph type="body" sz="quarter" idx="18" hasCustomPrompt="1"/>
          </p:nvPr>
        </p:nvSpPr>
        <p:spPr>
          <a:xfrm>
            <a:off x="3505800" y="1620783"/>
            <a:ext cx="5180400" cy="3625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4163503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title">
    <p:bg>
      <p:bgPr>
        <a:solidFill>
          <a:schemeClr val="bg2"/>
        </a:solidFill>
        <a:effectLst/>
      </p:bgPr>
    </p:bg>
    <p:spTree>
      <p:nvGrpSpPr>
        <p:cNvPr id="1" name=""/>
        <p:cNvGrpSpPr/>
        <p:nvPr/>
      </p:nvGrpSpPr>
      <p:grpSpPr>
        <a:xfrm>
          <a:off x="0" y="0"/>
          <a:ext cx="0" cy="0"/>
          <a:chOff x="0" y="0"/>
          <a:chExt cx="0" cy="0"/>
        </a:xfrm>
      </p:grpSpPr>
      <p:sp>
        <p:nvSpPr>
          <p:cNvPr id="11" name="Titel 28">
            <a:extLst>
              <a:ext uri="{FF2B5EF4-FFF2-40B4-BE49-F238E27FC236}">
                <a16:creationId xmlns:a16="http://schemas.microsoft.com/office/drawing/2014/main" id="{60C35238-2B0F-7647-BA98-57300A635E7E}"/>
              </a:ext>
            </a:extLst>
          </p:cNvPr>
          <p:cNvSpPr>
            <a:spLocks noGrp="1"/>
          </p:cNvSpPr>
          <p:nvPr>
            <p:ph type="title" hasCustomPrompt="1"/>
          </p:nvPr>
        </p:nvSpPr>
        <p:spPr>
          <a:xfrm>
            <a:off x="1731079" y="2505041"/>
            <a:ext cx="9180612" cy="1847917"/>
          </a:xfrm>
          <a:prstGeom prst="rect">
            <a:avLst/>
          </a:prstGeom>
        </p:spPr>
        <p:txBody>
          <a:bodyPr anchor="ctr">
            <a:noAutofit/>
          </a:bodyPr>
          <a:lstStyle>
            <a:lvl1pPr>
              <a:defRPr sz="7500" b="1" i="0">
                <a:solidFill>
                  <a:schemeClr val="accent2"/>
                </a:solidFill>
                <a:latin typeface="Calibri" panose="020F0502020204030204" pitchFamily="34" charset="0"/>
                <a:cs typeface="Calibri" panose="020F0502020204030204" pitchFamily="34" charset="0"/>
              </a:defRPr>
            </a:lvl1pPr>
          </a:lstStyle>
          <a:p>
            <a:r>
              <a:rPr lang="nl-NL" err="1"/>
              <a:t>Chapter</a:t>
            </a:r>
            <a:br>
              <a:rPr lang="nl-NL"/>
            </a:br>
            <a:r>
              <a:rPr lang="nl-NL" err="1"/>
              <a:t>title</a:t>
            </a:r>
            <a:endParaRPr lang="nl-BE"/>
          </a:p>
        </p:txBody>
      </p:sp>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244330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bg2"/>
        </a:solidFill>
        <a:effectLst/>
      </p:bgPr>
    </p:bg>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5" name="Text Placeholder 13">
            <a:extLst>
              <a:ext uri="{FF2B5EF4-FFF2-40B4-BE49-F238E27FC236}">
                <a16:creationId xmlns:a16="http://schemas.microsoft.com/office/drawing/2014/main" id="{D3D7F391-6CD7-3445-99D8-816D3EA1D403}"/>
              </a:ext>
            </a:extLst>
          </p:cNvPr>
          <p:cNvSpPr>
            <a:spLocks noGrp="1"/>
          </p:cNvSpPr>
          <p:nvPr>
            <p:ph type="body" sz="quarter" idx="18" hasCustomPrompt="1"/>
          </p:nvPr>
        </p:nvSpPr>
        <p:spPr>
          <a:xfrm>
            <a:off x="1306797" y="2439096"/>
            <a:ext cx="9578403" cy="1779220"/>
          </a:xfrm>
          <a:prstGeom prst="rect">
            <a:avLst/>
          </a:prstGeom>
        </p:spPr>
        <p:txBody>
          <a:bodyPr anchor="ctr" anchorCtr="0"/>
          <a:lstStyle>
            <a:lvl1pPr marL="0" indent="0" algn="ctr">
              <a:lnSpc>
                <a:spcPct val="100000"/>
              </a:lnSpc>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r>
              <a:rPr lang="nl-BE" err="1"/>
              <a:t>This</a:t>
            </a:r>
            <a:r>
              <a:rPr lang="nl-BE"/>
              <a:t> is a quote slide.</a:t>
            </a:r>
          </a:p>
          <a:p>
            <a:r>
              <a:rPr lang="nl-BE"/>
              <a:t>— xxx</a:t>
            </a:r>
            <a:endParaRPr lang="fr-FR"/>
          </a:p>
        </p:txBody>
      </p:sp>
      <p:sp>
        <p:nvSpPr>
          <p:cNvPr id="6" name="Tijdelijke aanduiding voor dianummer 5">
            <a:extLst>
              <a:ext uri="{FF2B5EF4-FFF2-40B4-BE49-F238E27FC236}">
                <a16:creationId xmlns:a16="http://schemas.microsoft.com/office/drawing/2014/main" id="{6E689B9A-DB81-B14F-9356-30B53908652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Tree>
    <p:extLst>
      <p:ext uri="{BB962C8B-B14F-4D97-AF65-F5344CB8AC3E}">
        <p14:creationId xmlns:p14="http://schemas.microsoft.com/office/powerpoint/2010/main" val="4154942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tx2"/>
        </a:solidFill>
        <a:effectLst/>
      </p:bgPr>
    </p:bg>
    <p:spTree>
      <p:nvGrpSpPr>
        <p:cNvPr id="1" name=""/>
        <p:cNvGrpSpPr/>
        <p:nvPr/>
      </p:nvGrpSpPr>
      <p:grpSpPr>
        <a:xfrm>
          <a:off x="0" y="0"/>
          <a:ext cx="0" cy="0"/>
          <a:chOff x="0" y="0"/>
          <a:chExt cx="0" cy="0"/>
        </a:xfrm>
      </p:grpSpPr>
      <p:sp>
        <p:nvSpPr>
          <p:cNvPr id="12" name="Tijdelijke aanduiding voor dianummer 5">
            <a:extLst>
              <a:ext uri="{FF2B5EF4-FFF2-40B4-BE49-F238E27FC236}">
                <a16:creationId xmlns:a16="http://schemas.microsoft.com/office/drawing/2014/main" id="{C8024A50-C834-4B4C-8F86-86D51C05A44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6"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Tree>
    <p:extLst>
      <p:ext uri="{BB962C8B-B14F-4D97-AF65-F5344CB8AC3E}">
        <p14:creationId xmlns:p14="http://schemas.microsoft.com/office/powerpoint/2010/main" val="4056152844"/>
      </p:ext>
    </p:extLst>
  </p:cSld>
  <p:clrMapOvr>
    <a:masterClrMapping/>
  </p:clrMapOvr>
  <p:extLst>
    <p:ext uri="{DCECCB84-F9BA-43D5-87BE-67443E8EF086}">
      <p15:sldGuideLst xmlns:p15="http://schemas.microsoft.com/office/powerpoint/2012/main">
        <p15:guide id="1" orient="horz" pos="223">
          <p15:clr>
            <a:srgbClr val="FBAE40"/>
          </p15:clr>
        </p15:guide>
        <p15:guide id="2" pos="7446">
          <p15:clr>
            <a:srgbClr val="FBAE40"/>
          </p15:clr>
        </p15:guide>
        <p15:guide id="3" orient="horz" pos="36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6" name="Tijdelijke aanduiding voor dianummer 5">
            <a:extLst>
              <a:ext uri="{FF2B5EF4-FFF2-40B4-BE49-F238E27FC236}">
                <a16:creationId xmlns:a16="http://schemas.microsoft.com/office/drawing/2014/main" id="{9BD70334-D006-854B-BA49-9D20F1B8A016}"/>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83169377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7.png"/><Relationship Id="rId5" Type="http://schemas.openxmlformats.org/officeDocument/2006/relationships/theme" Target="../theme/theme4.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7.xml"/><Relationship Id="rId7" Type="http://schemas.openxmlformats.org/officeDocument/2006/relationships/image" Target="../media/image16.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21" Type="http://schemas.openxmlformats.org/officeDocument/2006/relationships/slideLayout" Target="../slideLayouts/slideLayout48.xml"/><Relationship Id="rId34" Type="http://schemas.openxmlformats.org/officeDocument/2006/relationships/oleObject" Target="../embeddings/oleObject2.bin"/><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tags" Target="../tags/tag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theme" Target="../theme/theme7.xml"/><Relationship Id="rId37" Type="http://schemas.openxmlformats.org/officeDocument/2006/relationships/image" Target="../media/image20.emf"/><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image" Target="../media/image19.emf"/><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image" Target="../media/image18.emf"/><Relationship Id="rId8" Type="http://schemas.openxmlformats.org/officeDocument/2006/relationships/slideLayout" Target="../slideLayouts/slideLayout35.xml"/><Relationship Id="rId3"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4659" y="205350"/>
            <a:ext cx="9599141" cy="76856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53298"/>
            <a:ext cx="10515600" cy="50236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2FA7FF-343F-4B15-8C07-71F25E92F617}" type="slidenum">
              <a:rPr lang="en-US" smtClean="0"/>
              <a:t>‹#›</a:t>
            </a:fld>
            <a:endParaRPr lang="en-US"/>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79033" y="210929"/>
            <a:ext cx="1227785" cy="712996"/>
          </a:xfrm>
          <a:prstGeom prst="rect">
            <a:avLst/>
          </a:prstGeom>
        </p:spPr>
      </p:pic>
    </p:spTree>
    <p:extLst>
      <p:ext uri="{BB962C8B-B14F-4D97-AF65-F5344CB8AC3E}">
        <p14:creationId xmlns:p14="http://schemas.microsoft.com/office/powerpoint/2010/main" val="14434405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794" r:id="rId4"/>
  </p:sldLayoutIdLst>
  <p:txStyles>
    <p:title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p:titleStyle>
    <p:bodyStyle>
      <a:lvl1pPr marL="2286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1pPr>
      <a:lvl2pPr marL="6858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2pPr>
      <a:lvl3pPr marL="11430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3pPr>
      <a:lvl4pPr marL="16002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4pPr>
      <a:lvl5pPr marL="20574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a:ln>
            <a:noFill/>
          </a:ln>
          <a:solidFill>
            <a:srgbClr val="595959"/>
          </a:solidFill>
          <a:effectLst/>
          <a:uLnTx/>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52603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F9C57023-7CE4-824C-8E0E-D8797537E412}"/>
              </a:ext>
            </a:extLst>
          </p:cNvPr>
          <p:cNvSpPr/>
          <p:nvPr userDrawn="1"/>
        </p:nvSpPr>
        <p:spPr>
          <a:xfrm>
            <a:off x="0" y="6495880"/>
            <a:ext cx="12192000" cy="362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2"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pic>
        <p:nvPicPr>
          <p:cNvPr id="6" name="Afbeelding 5">
            <a:extLst>
              <a:ext uri="{FF2B5EF4-FFF2-40B4-BE49-F238E27FC236}">
                <a16:creationId xmlns:a16="http://schemas.microsoft.com/office/drawing/2014/main" id="{D9222961-87D7-D445-A5B6-9CB31A193F80}"/>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extLst>
      <p:ext uri="{BB962C8B-B14F-4D97-AF65-F5344CB8AC3E}">
        <p14:creationId xmlns:p14="http://schemas.microsoft.com/office/powerpoint/2010/main" val="321743082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17549CE-FD82-8448-A724-EC6236E59F6B}"/>
              </a:ext>
            </a:extLst>
          </p:cNvPr>
          <p:cNvSpPr/>
          <p:nvPr userDrawn="1"/>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Afbeelding 6">
            <a:extLst>
              <a:ext uri="{FF2B5EF4-FFF2-40B4-BE49-F238E27FC236}">
                <a16:creationId xmlns:a16="http://schemas.microsoft.com/office/drawing/2014/main" id="{AC581ACF-D180-594E-ADD8-444B928B320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4" name="Afbeelding 9">
            <a:extLst>
              <a:ext uri="{FF2B5EF4-FFF2-40B4-BE49-F238E27FC236}">
                <a16:creationId xmlns:a16="http://schemas.microsoft.com/office/drawing/2014/main" id="{F4667DEA-D29A-FB45-AAFA-03ADA78174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42441926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21867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txStyles>
    <p:titleStyle>
      <a:lvl1pPr algn="l" defTabSz="554492" rtl="0" eaLnBrk="1" latinLnBrk="0" hangingPunct="1">
        <a:lnSpc>
          <a:spcPct val="90000"/>
        </a:lnSpc>
        <a:spcBef>
          <a:spcPct val="0"/>
        </a:spcBef>
        <a:buNone/>
        <a:defRPr sz="2668" kern="1200">
          <a:solidFill>
            <a:schemeClr val="tx1"/>
          </a:solidFill>
          <a:latin typeface="+mj-lt"/>
          <a:ea typeface="+mj-ea"/>
          <a:cs typeface="+mj-cs"/>
        </a:defRPr>
      </a:lvl1pPr>
    </p:titleStyle>
    <p:bodyStyle>
      <a:lvl1pPr marL="138623" indent="-138623" algn="l" defTabSz="554492" rtl="0" eaLnBrk="1" latinLnBrk="0" hangingPunct="1">
        <a:lnSpc>
          <a:spcPct val="90000"/>
        </a:lnSpc>
        <a:spcBef>
          <a:spcPts val="606"/>
        </a:spcBef>
        <a:buFont typeface="Arial" panose="020B0604020202020204" pitchFamily="34" charset="0"/>
        <a:buChar char="•"/>
        <a:defRPr sz="1698" kern="1200">
          <a:solidFill>
            <a:schemeClr val="tx1"/>
          </a:solidFill>
          <a:latin typeface="+mn-lt"/>
          <a:ea typeface="+mn-ea"/>
          <a:cs typeface="+mn-cs"/>
        </a:defRPr>
      </a:lvl1pPr>
      <a:lvl2pPr marL="415869" indent="-138623" algn="l" defTabSz="554492" rtl="0" eaLnBrk="1" latinLnBrk="0" hangingPunct="1">
        <a:lnSpc>
          <a:spcPct val="90000"/>
        </a:lnSpc>
        <a:spcBef>
          <a:spcPts val="303"/>
        </a:spcBef>
        <a:buFont typeface="Arial" panose="020B0604020202020204" pitchFamily="34" charset="0"/>
        <a:buChar char="•"/>
        <a:defRPr sz="1455" kern="1200">
          <a:solidFill>
            <a:schemeClr val="tx1"/>
          </a:solidFill>
          <a:latin typeface="+mn-lt"/>
          <a:ea typeface="+mn-ea"/>
          <a:cs typeface="+mn-cs"/>
        </a:defRPr>
      </a:lvl2pPr>
      <a:lvl3pPr marL="693115" indent="-138623" algn="l" defTabSz="554492" rtl="0" eaLnBrk="1" latinLnBrk="0" hangingPunct="1">
        <a:lnSpc>
          <a:spcPct val="90000"/>
        </a:lnSpc>
        <a:spcBef>
          <a:spcPts val="303"/>
        </a:spcBef>
        <a:buFont typeface="Arial" panose="020B0604020202020204" pitchFamily="34" charset="0"/>
        <a:buChar char="•"/>
        <a:defRPr sz="1213" kern="1200">
          <a:solidFill>
            <a:schemeClr val="tx1"/>
          </a:solidFill>
          <a:latin typeface="+mn-lt"/>
          <a:ea typeface="+mn-ea"/>
          <a:cs typeface="+mn-cs"/>
        </a:defRPr>
      </a:lvl3pPr>
      <a:lvl4pPr marL="970361"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4pPr>
      <a:lvl5pPr marL="1247607"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fr-FR"/>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76315643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2" name="Object 1" hidden="1"/>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Trapezoid 1">
            <a:extLst>
              <a:ext uri="{FF2B5EF4-FFF2-40B4-BE49-F238E27FC236}">
                <a16:creationId xmlns:a16="http://schemas.microsoft.com/office/drawing/2014/main" id="{67FB9FAC-0C4E-4E0D-915B-06E40765B759}"/>
              </a:ext>
            </a:extLst>
          </p:cNvPr>
          <p:cNvSpPr/>
          <p:nvPr userDrawn="1"/>
        </p:nvSpPr>
        <p:spPr>
          <a:xfrm>
            <a:off x="-10685" y="-2648"/>
            <a:ext cx="607491" cy="358784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1086 h 6881086"/>
              <a:gd name="connsiteX1" fmla="*/ 3461239 w 3890320"/>
              <a:gd name="connsiteY1" fmla="*/ 0 h 6881086"/>
              <a:gd name="connsiteX2" fmla="*/ 3890320 w 3890320"/>
              <a:gd name="connsiteY2" fmla="*/ 2766 h 6881086"/>
              <a:gd name="connsiteX3" fmla="*/ 2722880 w 3890320"/>
              <a:gd name="connsiteY3" fmla="*/ 6881086 h 6881086"/>
              <a:gd name="connsiteX4" fmla="*/ 0 w 3890320"/>
              <a:gd name="connsiteY4" fmla="*/ 6881086 h 6881086"/>
              <a:gd name="connsiteX0" fmla="*/ 0 w 3890320"/>
              <a:gd name="connsiteY0" fmla="*/ 6878320 h 6878320"/>
              <a:gd name="connsiteX1" fmla="*/ 3283789 w 3890320"/>
              <a:gd name="connsiteY1" fmla="*/ 4628 h 6878320"/>
              <a:gd name="connsiteX2" fmla="*/ 3890320 w 3890320"/>
              <a:gd name="connsiteY2" fmla="*/ 0 h 6878320"/>
              <a:gd name="connsiteX3" fmla="*/ 2722880 w 3890320"/>
              <a:gd name="connsiteY3" fmla="*/ 6878320 h 6878320"/>
              <a:gd name="connsiteX4" fmla="*/ 0 w 3890320"/>
              <a:gd name="connsiteY4" fmla="*/ 6878320 h 6878320"/>
              <a:gd name="connsiteX0" fmla="*/ 0 w 3890320"/>
              <a:gd name="connsiteY0" fmla="*/ 6878320 h 6878320"/>
              <a:gd name="connsiteX1" fmla="*/ 3283789 w 3890320"/>
              <a:gd name="connsiteY1" fmla="*/ 4628 h 6878320"/>
              <a:gd name="connsiteX2" fmla="*/ 3890320 w 3890320"/>
              <a:gd name="connsiteY2" fmla="*/ 0 h 6878320"/>
              <a:gd name="connsiteX3" fmla="*/ 3284806 w 3890320"/>
              <a:gd name="connsiteY3" fmla="*/ 3588098 h 6878320"/>
              <a:gd name="connsiteX4" fmla="*/ 0 w 3890320"/>
              <a:gd name="connsiteY4" fmla="*/ 6878320 h 6878320"/>
              <a:gd name="connsiteX0" fmla="*/ 0 w 607491"/>
              <a:gd name="connsiteY0" fmla="*/ 24306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24306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491" h="3588098">
                <a:moveTo>
                  <a:pt x="0" y="308869"/>
                </a:moveTo>
                <a:lnTo>
                  <a:pt x="960" y="1739"/>
                </a:lnTo>
                <a:lnTo>
                  <a:pt x="607491" y="0"/>
                </a:lnTo>
                <a:lnTo>
                  <a:pt x="1977" y="3588098"/>
                </a:lnTo>
                <a:lnTo>
                  <a:pt x="0" y="308869"/>
                </a:lnTo>
                <a:close/>
              </a:path>
            </a:pathLst>
          </a:custGeom>
          <a:solidFill>
            <a:srgbClr val="424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sp>
        <p:nvSpPr>
          <p:cNvPr id="19" name="Text Placeholder 23">
            <a:extLst>
              <a:ext uri="{FF2B5EF4-FFF2-40B4-BE49-F238E27FC236}">
                <a16:creationId xmlns:a16="http://schemas.microsoft.com/office/drawing/2014/main" id="{1CF828F9-47F2-474F-8D19-D3D24352FB0C}"/>
              </a:ext>
            </a:extLst>
          </p:cNvPr>
          <p:cNvSpPr txBox="1">
            <a:spLocks/>
          </p:cNvSpPr>
          <p:nvPr userDrawn="1"/>
        </p:nvSpPr>
        <p:spPr>
          <a:xfrm>
            <a:off x="11829608" y="3166548"/>
            <a:ext cx="362392" cy="360035"/>
          </a:xfrm>
          <a:prstGeom prst="rect">
            <a:avLst/>
          </a:prstGeom>
          <a:solidFill>
            <a:schemeClr val="accent1"/>
          </a:solidFill>
        </p:spPr>
        <p:txBody>
          <a:bodyPr anchor="ctr"/>
          <a:lstStyle>
            <a:lvl1pPr marL="0" indent="0" algn="ctr" defTabSz="1507846" rtl="0" eaLnBrk="1" latinLnBrk="0" hangingPunct="1">
              <a:spcBef>
                <a:spcPct val="20000"/>
              </a:spcBef>
              <a:buClr>
                <a:srgbClr val="55B948"/>
              </a:buClr>
              <a:buFont typeface="Arial" pitchFamily="34" charset="0"/>
              <a:buNone/>
              <a:defRPr sz="2000" i="1" kern="1200">
                <a:solidFill>
                  <a:schemeClr val="bg1"/>
                </a:solidFill>
                <a:latin typeface="Calibri" panose="020F0502020204030204" pitchFamily="34" charset="0"/>
                <a:ea typeface="+mn-ea"/>
                <a:cs typeface="Calibri" panose="020F0502020204030204" pitchFamily="34" charset="0"/>
              </a:defRPr>
            </a:lvl1pPr>
            <a:lvl2pPr marL="1225125" indent="-471202"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2pPr>
            <a:lvl3pPr marL="1884807"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3pPr>
            <a:lvl4pPr marL="2638730"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4pPr>
            <a:lvl5pPr marL="3392653"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5pPr>
            <a:lvl6pPr marL="4146575"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6pPr>
            <a:lvl7pPr marL="4900498"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7pPr>
            <a:lvl8pPr marL="5654421"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8pPr>
            <a:lvl9pPr marL="6408344"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9pPr>
          </a:lstStyle>
          <a:p>
            <a:fld id="{A70CECB3-9CFC-4795-9573-0B641ECD13B0}" type="slidenum">
              <a:rPr lang="en-US" sz="1213" smtClean="0"/>
              <a:pPr/>
              <a:t>‹#›</a:t>
            </a:fld>
            <a:endParaRPr lang="en-US" sz="1213"/>
          </a:p>
        </p:txBody>
      </p:sp>
      <p:pic>
        <p:nvPicPr>
          <p:cNvPr id="9" name="Picture 8">
            <a:extLst>
              <a:ext uri="{FF2B5EF4-FFF2-40B4-BE49-F238E27FC236}">
                <a16:creationId xmlns:a16="http://schemas.microsoft.com/office/drawing/2014/main" id="{45747AF1-7F94-69CA-C091-07C7FFE42B8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618262" y="6442444"/>
            <a:ext cx="1535764" cy="404616"/>
          </a:xfrm>
          <a:prstGeom prst="rect">
            <a:avLst/>
          </a:prstGeom>
        </p:spPr>
      </p:pic>
    </p:spTree>
    <p:extLst>
      <p:ext uri="{BB962C8B-B14F-4D97-AF65-F5344CB8AC3E}">
        <p14:creationId xmlns:p14="http://schemas.microsoft.com/office/powerpoint/2010/main" val="1121933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p:hf sldNum="0" hdr="0" dt="0"/>
  <p:txStyles>
    <p:titleStyle>
      <a:lvl1pPr algn="l" defTabSz="914358" rtl="0" eaLnBrk="1" latinLnBrk="0" hangingPunct="1">
        <a:spcBef>
          <a:spcPct val="0"/>
        </a:spcBef>
        <a:buNone/>
        <a:defRPr sz="2800" b="1" kern="1200">
          <a:solidFill>
            <a:srgbClr val="58585A"/>
          </a:solidFill>
          <a:latin typeface="Arial" pitchFamily="34" charset="0"/>
          <a:ea typeface="+mj-ea"/>
          <a:cs typeface="Arial" pitchFamily="34" charset="0"/>
        </a:defRPr>
      </a:lvl1pPr>
    </p:titleStyle>
    <p:bodyStyle>
      <a:lvl1pPr marL="342884" indent="-342884"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1pPr>
      <a:lvl2pPr marL="742916" indent="-285737"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2pPr>
      <a:lvl3pPr marL="1142947"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3pPr>
      <a:lvl4pPr marL="1600126"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4pPr>
      <a:lvl5pPr marL="2057305"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5pPr>
      <a:lvl6pPr marL="2514483"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62"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41"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20"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F72DC5E-90C0-4B91-83F8-AD9304853EA2}"/>
              </a:ext>
            </a:extLst>
          </p:cNvPr>
          <p:cNvGraphicFramePr>
            <a:graphicFrameLocks noChangeAspect="1"/>
          </p:cNvGraphicFramePr>
          <p:nvPr userDrawn="1">
            <p:custDataLst>
              <p:tags r:id="rId33"/>
            </p:custDataLst>
            <p:extLst>
              <p:ext uri="{D42A27DB-BD31-4B8C-83A1-F6EECF244321}">
                <p14:modId xmlns:p14="http://schemas.microsoft.com/office/powerpoint/2010/main" val="587453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4" imgW="573" imgH="574" progId="TCLayout.ActiveDocument.1">
                  <p:embed/>
                </p:oleObj>
              </mc:Choice>
              <mc:Fallback>
                <p:oleObj name="think-cell Folie" r:id="rId34" imgW="573" imgH="574" progId="TCLayout.ActiveDocument.1">
                  <p:embed/>
                  <p:pic>
                    <p:nvPicPr>
                      <p:cNvPr id="8" name="Objekt 7" hidden="1">
                        <a:extLst>
                          <a:ext uri="{FF2B5EF4-FFF2-40B4-BE49-F238E27FC236}">
                            <a16:creationId xmlns:a16="http://schemas.microsoft.com/office/drawing/2014/main" id="{7F72DC5E-90C0-4B91-83F8-AD9304853EA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D27DB810-CDF5-41AC-8E51-9EBC8EC0B1F7}"/>
              </a:ext>
            </a:extLst>
          </p:cNvPr>
          <p:cNvSpPr>
            <a:spLocks noGrp="1"/>
          </p:cNvSpPr>
          <p:nvPr>
            <p:ph type="title"/>
          </p:nvPr>
        </p:nvSpPr>
        <p:spPr>
          <a:xfrm>
            <a:off x="371474" y="296696"/>
            <a:ext cx="10602893" cy="864052"/>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22AE7966-514A-4D81-97FD-6AD3A07C804F}"/>
              </a:ext>
            </a:extLst>
          </p:cNvPr>
          <p:cNvSpPr>
            <a:spLocks noGrp="1"/>
          </p:cNvSpPr>
          <p:nvPr>
            <p:ph type="body" idx="1"/>
          </p:nvPr>
        </p:nvSpPr>
        <p:spPr>
          <a:xfrm>
            <a:off x="371474" y="1449388"/>
            <a:ext cx="11449051" cy="46799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62C0766E-DEEA-4949-912D-67F535F0E6A8}"/>
              </a:ext>
            </a:extLst>
          </p:cNvPr>
          <p:cNvSpPr>
            <a:spLocks noGrp="1"/>
          </p:cNvSpPr>
          <p:nvPr>
            <p:ph type="ftr" sz="quarter" idx="3"/>
          </p:nvPr>
        </p:nvSpPr>
        <p:spPr>
          <a:xfrm>
            <a:off x="371475" y="6537600"/>
            <a:ext cx="10602902" cy="216024"/>
          </a:xfrm>
          <a:prstGeom prst="rect">
            <a:avLst/>
          </a:prstGeom>
        </p:spPr>
        <p:txBody>
          <a:bodyPr vert="horz" lIns="0" tIns="0" rIns="0" bIns="0" rtlCol="0" anchor="b" anchorCtr="0">
            <a:noAutofit/>
          </a:bodyPr>
          <a:lstStyle>
            <a:lvl1pPr algn="l">
              <a:defRPr sz="1000">
                <a:solidFill>
                  <a:schemeClr val="tx1"/>
                </a:solidFill>
              </a:defRPr>
            </a:lvl1pPr>
          </a:lstStyle>
          <a:p>
            <a:r>
              <a:rPr lang="de-DE"/>
              <a:t>© DB Regio AG | R.RBE Eisenbahnbetriebsleiter</a:t>
            </a:r>
          </a:p>
        </p:txBody>
      </p:sp>
      <p:sp>
        <p:nvSpPr>
          <p:cNvPr id="6" name="Foliennummernplatzhalter 5">
            <a:extLst>
              <a:ext uri="{FF2B5EF4-FFF2-40B4-BE49-F238E27FC236}">
                <a16:creationId xmlns:a16="http://schemas.microsoft.com/office/drawing/2014/main" id="{1374309D-71AA-45D4-974A-6D58CB17604F}"/>
              </a:ext>
            </a:extLst>
          </p:cNvPr>
          <p:cNvSpPr>
            <a:spLocks noGrp="1"/>
          </p:cNvSpPr>
          <p:nvPr>
            <p:ph type="sldNum" sz="quarter" idx="4"/>
          </p:nvPr>
        </p:nvSpPr>
        <p:spPr>
          <a:xfrm>
            <a:off x="11300027" y="6538648"/>
            <a:ext cx="520498" cy="216024"/>
          </a:xfrm>
          <a:prstGeom prst="rect">
            <a:avLst/>
          </a:prstGeom>
        </p:spPr>
        <p:txBody>
          <a:bodyPr vert="horz" lIns="0" tIns="0" rIns="0" bIns="0" rtlCol="0" anchor="b" anchorCtr="0">
            <a:noAutofit/>
          </a:bodyPr>
          <a:lstStyle>
            <a:lvl1pPr algn="r">
              <a:defRPr sz="1000" b="1">
                <a:solidFill>
                  <a:schemeClr val="tx1"/>
                </a:solidFill>
              </a:defRPr>
            </a:lvl1pPr>
          </a:lstStyle>
          <a:p>
            <a:fld id="{913D9F7D-0C28-4C21-AA99-7C67E34F632A}" type="slidenum">
              <a:rPr lang="de-DE" smtClean="0"/>
              <a:pPr/>
              <a:t>‹#›</a:t>
            </a:fld>
            <a:endParaRPr lang="de-DE"/>
          </a:p>
        </p:txBody>
      </p:sp>
      <p:pic>
        <p:nvPicPr>
          <p:cNvPr id="7" name="Grafik 6">
            <a:extLst>
              <a:ext uri="{FF2B5EF4-FFF2-40B4-BE49-F238E27FC236}">
                <a16:creationId xmlns:a16="http://schemas.microsoft.com/office/drawing/2014/main" id="{4F629909-3F3B-B946-91EF-D49519C4F1F0}"/>
              </a:ext>
            </a:extLst>
          </p:cNvPr>
          <p:cNvPicPr>
            <a:picLocks noChangeAspect="1"/>
          </p:cNvPicPr>
          <p:nvPr userDrawn="1"/>
        </p:nvPicPr>
        <p:blipFill>
          <a:blip r:embed="rId36" cstate="print">
            <a:extLst>
              <a:ext uri="{28A0092B-C50C-407E-A947-70E740481C1C}">
                <a14:useLocalDpi xmlns:a14="http://schemas.microsoft.com/office/drawing/2010/main" val="0"/>
              </a:ext>
            </a:extLst>
          </a:blip>
          <a:srcRect/>
          <a:stretch/>
        </p:blipFill>
        <p:spPr>
          <a:xfrm>
            <a:off x="11280903" y="368660"/>
            <a:ext cx="539622" cy="377809"/>
          </a:xfrm>
          <a:prstGeom prst="rect">
            <a:avLst/>
          </a:prstGeom>
        </p:spPr>
      </p:pic>
      <p:pic>
        <p:nvPicPr>
          <p:cNvPr id="12" name="Grafik 11">
            <a:extLst>
              <a:ext uri="{FF2B5EF4-FFF2-40B4-BE49-F238E27FC236}">
                <a16:creationId xmlns:a16="http://schemas.microsoft.com/office/drawing/2014/main" id="{FDE7FD38-4C24-1C44-B92F-B053B9DC1D6B}"/>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11293200" y="6472800"/>
            <a:ext cx="540000" cy="53428"/>
          </a:xfrm>
          <a:prstGeom prst="rect">
            <a:avLst/>
          </a:prstGeom>
        </p:spPr>
      </p:pic>
    </p:spTree>
    <p:extLst>
      <p:ext uri="{BB962C8B-B14F-4D97-AF65-F5344CB8AC3E}">
        <p14:creationId xmlns:p14="http://schemas.microsoft.com/office/powerpoint/2010/main" val="229450924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Lst>
  <p:hf hdr="0" dt="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2563"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1pPr>
      <a:lvl2pPr marL="358775" indent="-17621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541338"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715963" indent="-174625"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898525"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3" pos="7446">
          <p15:clr>
            <a:srgbClr val="F26B43"/>
          </p15:clr>
        </p15:guide>
        <p15:guide id="7" pos="3727">
          <p15:clr>
            <a:srgbClr val="F26B43"/>
          </p15:clr>
        </p15:guide>
        <p15:guide id="8" pos="3953">
          <p15:clr>
            <a:srgbClr val="F26B43"/>
          </p15:clr>
        </p15:guide>
        <p15:guide id="9" orient="horz" pos="913">
          <p15:clr>
            <a:srgbClr val="F26B43"/>
          </p15:clr>
        </p15:guide>
        <p15:guide id="10" orient="horz" pos="3861">
          <p15:clr>
            <a:srgbClr val="F26B43"/>
          </p15:clr>
        </p15:guide>
        <p15:guide id="11" pos="23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57.png"/><Relationship Id="rId18" Type="http://schemas.openxmlformats.org/officeDocument/2006/relationships/image" Target="../media/image62.sv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tags" Target="../tags/tag28.xml"/><Relationship Id="rId16" Type="http://schemas.openxmlformats.org/officeDocument/2006/relationships/image" Target="../media/image60.svg"/><Relationship Id="rId20" Type="http://schemas.openxmlformats.org/officeDocument/2006/relationships/image" Target="../media/image64.svg"/><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slideLayout" Target="../slideLayouts/slideLayout48.xml"/><Relationship Id="rId5" Type="http://schemas.openxmlformats.org/officeDocument/2006/relationships/tags" Target="../tags/tag31.xml"/><Relationship Id="rId15" Type="http://schemas.openxmlformats.org/officeDocument/2006/relationships/image" Target="../media/image59.png"/><Relationship Id="rId10" Type="http://schemas.openxmlformats.org/officeDocument/2006/relationships/tags" Target="../tags/tag36.xml"/><Relationship Id="rId19" Type="http://schemas.openxmlformats.org/officeDocument/2006/relationships/image" Target="../media/image63.png"/><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image" Target="../media/image58.svg"/></Relationships>
</file>

<file path=ppt/slides/_rels/slide11.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66.png"/><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65.png"/><Relationship Id="rId2" Type="http://schemas.openxmlformats.org/officeDocument/2006/relationships/tags" Target="../tags/tag38.xml"/><Relationship Id="rId16" Type="http://schemas.microsoft.com/office/2007/relationships/hdphoto" Target="../media/hdphoto1.wdp"/><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slideLayout" Target="../slideLayouts/slideLayout48.xml"/><Relationship Id="rId5" Type="http://schemas.openxmlformats.org/officeDocument/2006/relationships/tags" Target="../tags/tag41.xml"/><Relationship Id="rId15" Type="http://schemas.openxmlformats.org/officeDocument/2006/relationships/image" Target="../media/image68.png"/><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67.sv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71.png"/><Relationship Id="rId3" Type="http://schemas.openxmlformats.org/officeDocument/2006/relationships/tags" Target="../tags/tag49.xml"/><Relationship Id="rId7" Type="http://schemas.openxmlformats.org/officeDocument/2006/relationships/slideLayout" Target="../slideLayouts/slideLayout48.xml"/><Relationship Id="rId12" Type="http://schemas.openxmlformats.org/officeDocument/2006/relationships/image" Target="../media/image70.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69.png"/><Relationship Id="rId5" Type="http://schemas.openxmlformats.org/officeDocument/2006/relationships/tags" Target="../tags/tag51.xml"/><Relationship Id="rId10" Type="http://schemas.openxmlformats.org/officeDocument/2006/relationships/image" Target="../media/image62.svg"/><Relationship Id="rId4" Type="http://schemas.openxmlformats.org/officeDocument/2006/relationships/tags" Target="../tags/tag50.xml"/><Relationship Id="rId9" Type="http://schemas.openxmlformats.org/officeDocument/2006/relationships/image" Target="../media/image61.png"/></Relationships>
</file>

<file path=ppt/slides/_rels/slide13.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notesSlide" Target="../notesSlides/notesSlide6.xml"/><Relationship Id="rId18" Type="http://schemas.openxmlformats.org/officeDocument/2006/relationships/image" Target="../media/image74.pn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slideLayout" Target="../slideLayouts/slideLayout48.xml"/><Relationship Id="rId17" Type="http://schemas.openxmlformats.org/officeDocument/2006/relationships/image" Target="../media/image73.svg"/><Relationship Id="rId2" Type="http://schemas.openxmlformats.org/officeDocument/2006/relationships/tags" Target="../tags/tag54.xml"/><Relationship Id="rId16" Type="http://schemas.openxmlformats.org/officeDocument/2006/relationships/image" Target="../media/image72.png"/><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18.emf"/><Relationship Id="rId10" Type="http://schemas.openxmlformats.org/officeDocument/2006/relationships/tags" Target="../tags/tag62.xml"/><Relationship Id="rId19" Type="http://schemas.openxmlformats.org/officeDocument/2006/relationships/image" Target="../media/image75.png"/><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tags" Target="../tags/tag66.xml"/><Relationship Id="rId7" Type="http://schemas.openxmlformats.org/officeDocument/2006/relationships/image" Target="../media/image77.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6.png"/><Relationship Id="rId5" Type="http://schemas.openxmlformats.org/officeDocument/2006/relationships/slideLayout" Target="../slideLayouts/slideLayout48.xml"/><Relationship Id="rId10" Type="http://schemas.openxmlformats.org/officeDocument/2006/relationships/image" Target="../media/image80.svg"/><Relationship Id="rId4" Type="http://schemas.openxmlformats.org/officeDocument/2006/relationships/tags" Target="../tags/tag67.xml"/><Relationship Id="rId9"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slideLayout" Target="../slideLayouts/slideLayout52.xml"/><Relationship Id="rId1" Type="http://schemas.openxmlformats.org/officeDocument/2006/relationships/tags" Target="../tags/tag68.xml"/><Relationship Id="rId5" Type="http://schemas.openxmlformats.org/officeDocument/2006/relationships/image" Target="../media/image83.sv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image" Target="../media/image34.png"/><Relationship Id="rId5" Type="http://schemas.openxmlformats.org/officeDocument/2006/relationships/diagramQuickStyle" Target="../diagrams/quickStyle4.xml"/><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diagramLayout" Target="../diagrams/layout4.xml"/><Relationship Id="rId9" Type="http://schemas.openxmlformats.org/officeDocument/2006/relationships/image" Target="../media/image32.png"/><Relationship Id="rId14" Type="http://schemas.openxmlformats.org/officeDocument/2006/relationships/image" Target="../media/image3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hyperlink" Target="https://www.cfl-mm.lu/fr-fr/organisation/cfl-cargo/" TargetMode="External"/><Relationship Id="rId1" Type="http://schemas.openxmlformats.org/officeDocument/2006/relationships/slideLayout" Target="../slideLayouts/slideLayout25.xml"/><Relationship Id="rId4" Type="http://schemas.openxmlformats.org/officeDocument/2006/relationships/image" Target="../media/image85.png"/></Relationships>
</file>

<file path=ppt/slides/_rels/slide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diagramLayout" Target="../diagrams/layout5.xml"/><Relationship Id="rId7" Type="http://schemas.openxmlformats.org/officeDocument/2006/relationships/image" Target="../media/image86.jpeg"/><Relationship Id="rId2" Type="http://schemas.openxmlformats.org/officeDocument/2006/relationships/diagramData" Target="../diagrams/data5.xml"/><Relationship Id="rId1" Type="http://schemas.openxmlformats.org/officeDocument/2006/relationships/slideLayout" Target="../slideLayouts/slideLayout2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diagramColors" Target="../diagrams/colors6.xml"/><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diagramQuickStyle" Target="../diagrams/quickStyle6.xml"/><Relationship Id="rId2" Type="http://schemas.openxmlformats.org/officeDocument/2006/relationships/image" Target="../media/image91.png"/><Relationship Id="rId1" Type="http://schemas.openxmlformats.org/officeDocument/2006/relationships/slideLayout" Target="../slideLayouts/slideLayout26.xml"/><Relationship Id="rId6" Type="http://schemas.openxmlformats.org/officeDocument/2006/relationships/image" Target="../media/image95.png"/><Relationship Id="rId11" Type="http://schemas.openxmlformats.org/officeDocument/2006/relationships/diagramLayout" Target="../diagrams/layout6.xml"/><Relationship Id="rId5" Type="http://schemas.openxmlformats.org/officeDocument/2006/relationships/image" Target="../media/image94.png"/><Relationship Id="rId10" Type="http://schemas.openxmlformats.org/officeDocument/2006/relationships/diagramData" Target="../diagrams/data6.xml"/><Relationship Id="rId4" Type="http://schemas.openxmlformats.org/officeDocument/2006/relationships/image" Target="../media/image93.png"/><Relationship Id="rId9" Type="http://schemas.openxmlformats.org/officeDocument/2006/relationships/image" Target="../media/image98.png"/><Relationship Id="rId14" Type="http://schemas.microsoft.com/office/2007/relationships/diagramDrawing" Target="../diagrams/drawing6.xml"/></Relationships>
</file>

<file path=ppt/slides/_rels/slide24.xml.rels><?xml version="1.0" encoding="UTF-8" standalone="yes"?>
<Relationships xmlns="http://schemas.openxmlformats.org/package/2006/relationships"><Relationship Id="rId8" Type="http://schemas.microsoft.com/office/2007/relationships/diagramDrawing" Target="../diagrams/drawing7.xml"/><Relationship Id="rId13" Type="http://schemas.microsoft.com/office/2007/relationships/diagramDrawing" Target="../diagrams/drawing8.xml"/><Relationship Id="rId3" Type="http://schemas.microsoft.com/office/2007/relationships/hdphoto" Target="../media/hdphoto2.wdp"/><Relationship Id="rId7" Type="http://schemas.openxmlformats.org/officeDocument/2006/relationships/diagramColors" Target="../diagrams/colors7.xml"/><Relationship Id="rId12" Type="http://schemas.openxmlformats.org/officeDocument/2006/relationships/diagramColors" Target="../diagrams/colors8.xml"/><Relationship Id="rId2" Type="http://schemas.openxmlformats.org/officeDocument/2006/relationships/image" Target="../media/image99.png"/><Relationship Id="rId1" Type="http://schemas.openxmlformats.org/officeDocument/2006/relationships/slideLayout" Target="../slideLayouts/slideLayout26.xml"/><Relationship Id="rId6" Type="http://schemas.openxmlformats.org/officeDocument/2006/relationships/diagramQuickStyle" Target="../diagrams/quickStyle7.xml"/><Relationship Id="rId11" Type="http://schemas.openxmlformats.org/officeDocument/2006/relationships/diagramQuickStyle" Target="../diagrams/quickStyle8.xml"/><Relationship Id="rId5" Type="http://schemas.openxmlformats.org/officeDocument/2006/relationships/diagramLayout" Target="../diagrams/layout7.xml"/><Relationship Id="rId10" Type="http://schemas.openxmlformats.org/officeDocument/2006/relationships/diagramLayout" Target="../diagrams/layout8.xml"/><Relationship Id="rId4" Type="http://schemas.openxmlformats.org/officeDocument/2006/relationships/diagramData" Target="../diagrams/data7.xml"/><Relationship Id="rId9" Type="http://schemas.openxmlformats.org/officeDocument/2006/relationships/diagramData" Target="../diagrams/data8.xml"/></Relationships>
</file>

<file path=ppt/slides/_rels/slide25.xml.rels><?xml version="1.0" encoding="UTF-8" standalone="yes"?>
<Relationships xmlns="http://schemas.openxmlformats.org/package/2006/relationships"><Relationship Id="rId8" Type="http://schemas.microsoft.com/office/2007/relationships/diagramDrawing" Target="../diagrams/drawing9.xml"/><Relationship Id="rId3" Type="http://schemas.microsoft.com/office/2007/relationships/hdphoto" Target="../media/hdphoto2.wdp"/><Relationship Id="rId7" Type="http://schemas.openxmlformats.org/officeDocument/2006/relationships/diagramColors" Target="../diagrams/colors9.xml"/><Relationship Id="rId2" Type="http://schemas.openxmlformats.org/officeDocument/2006/relationships/image" Target="../media/image99.png"/><Relationship Id="rId1" Type="http://schemas.openxmlformats.org/officeDocument/2006/relationships/slideLayout" Target="../slideLayouts/slideLayout26.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6.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diagramLayout" Target="../diagrams/layout10.xml"/><Relationship Id="rId7" Type="http://schemas.openxmlformats.org/officeDocument/2006/relationships/image" Target="../media/image100.png"/><Relationship Id="rId2" Type="http://schemas.openxmlformats.org/officeDocument/2006/relationships/diagramData" Target="../diagrams/data10.xml"/><Relationship Id="rId1" Type="http://schemas.openxmlformats.org/officeDocument/2006/relationships/slideLayout" Target="../slideLayouts/slideLayout2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34.png"/><Relationship Id="rId5" Type="http://schemas.openxmlformats.org/officeDocument/2006/relationships/diagramQuickStyle" Target="../diagrams/quickStyle1.xml"/><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diagramLayout" Target="../diagrams/layout1.xml"/><Relationship Id="rId9" Type="http://schemas.openxmlformats.org/officeDocument/2006/relationships/image" Target="../media/image32.png"/><Relationship Id="rId14" Type="http://schemas.openxmlformats.org/officeDocument/2006/relationships/image" Target="../media/image3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34.png"/><Relationship Id="rId5" Type="http://schemas.openxmlformats.org/officeDocument/2006/relationships/diagramQuickStyle" Target="../diagrams/quickStyle2.xml"/><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diagramLayout" Target="../diagrams/layout2.xml"/><Relationship Id="rId9" Type="http://schemas.openxmlformats.org/officeDocument/2006/relationships/image" Target="../media/image32.png"/><Relationship Id="rId14" Type="http://schemas.openxmlformats.org/officeDocument/2006/relationships/image" Target="../media/image3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image" Target="../media/image34.png"/><Relationship Id="rId5" Type="http://schemas.openxmlformats.org/officeDocument/2006/relationships/diagramQuickStyle" Target="../diagrams/quickStyle3.xml"/><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diagramLayout" Target="../diagrams/layout3.xml"/><Relationship Id="rId9" Type="http://schemas.openxmlformats.org/officeDocument/2006/relationships/image" Target="../media/image32.png"/><Relationship Id="rId14" Type="http://schemas.openxmlformats.org/officeDocument/2006/relationships/image" Target="../media/image37.png"/></Relationships>
</file>

<file path=ppt/slides/_rels/slide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image" Target="../media/image45.png"/><Relationship Id="rId3" Type="http://schemas.openxmlformats.org/officeDocument/2006/relationships/tags" Target="../tags/tag5.xml"/><Relationship Id="rId21" Type="http://schemas.openxmlformats.org/officeDocument/2006/relationships/image" Target="../media/image40.png"/><Relationship Id="rId34" Type="http://schemas.openxmlformats.org/officeDocument/2006/relationships/image" Target="../media/image53.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image" Target="../media/image44.png"/><Relationship Id="rId33" Type="http://schemas.openxmlformats.org/officeDocument/2006/relationships/image" Target="../media/image52.svg"/><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slideLayout" Target="../slideLayouts/slideLayout48.xml"/><Relationship Id="rId29" Type="http://schemas.openxmlformats.org/officeDocument/2006/relationships/image" Target="../media/image48.sv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43.png"/><Relationship Id="rId32" Type="http://schemas.openxmlformats.org/officeDocument/2006/relationships/image" Target="../media/image51.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image" Target="../media/image42.png"/><Relationship Id="rId28" Type="http://schemas.openxmlformats.org/officeDocument/2006/relationships/image" Target="../media/image47.png"/><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image" Target="../media/image50.sv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image" Target="../media/image41.jpe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svg"/><Relationship Id="rId8" Type="http://schemas.openxmlformats.org/officeDocument/2006/relationships/tags" Target="../tags/tag10.xml"/></Relationships>
</file>

<file path=ppt/slides/_rels/slide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24.xml"/><Relationship Id="rId7" Type="http://schemas.openxmlformats.org/officeDocument/2006/relationships/notesSlide" Target="../notesSlides/notesSlide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Layout" Target="../slideLayouts/slideLayout48.xml"/><Relationship Id="rId5" Type="http://schemas.openxmlformats.org/officeDocument/2006/relationships/tags" Target="../tags/tag26.xml"/><Relationship Id="rId4" Type="http://schemas.openxmlformats.org/officeDocument/2006/relationships/tags" Target="../tags/tag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US"/>
          </a:p>
        </p:txBody>
      </p:sp>
      <p:sp>
        <p:nvSpPr>
          <p:cNvPr id="3" name="Subtitle 2"/>
          <p:cNvSpPr>
            <a:spLocks noGrp="1"/>
          </p:cNvSpPr>
          <p:nvPr>
            <p:ph type="subTitle" idx="1"/>
          </p:nvPr>
        </p:nvSpPr>
        <p:spPr/>
        <p:txBody>
          <a:bodyPr/>
          <a:lstStyle/>
          <a:p>
            <a:r>
              <a:rPr lang="en-US"/>
              <a:t>6</a:t>
            </a:r>
            <a:r>
              <a:rPr lang="en-GB"/>
              <a:t>-7 December 2022</a:t>
            </a:r>
            <a:endParaRPr lang="en-US"/>
          </a:p>
        </p:txBody>
      </p:sp>
    </p:spTree>
    <p:extLst>
      <p:ext uri="{BB962C8B-B14F-4D97-AF65-F5344CB8AC3E}">
        <p14:creationId xmlns:p14="http://schemas.microsoft.com/office/powerpoint/2010/main" val="3224280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7B57A-0059-40FE-A300-B8A67AE70BC8}"/>
              </a:ext>
            </a:extLst>
          </p:cNvPr>
          <p:cNvSpPr>
            <a:spLocks noGrp="1"/>
          </p:cNvSpPr>
          <p:nvPr>
            <p:ph type="title"/>
          </p:nvPr>
        </p:nvSpPr>
        <p:spPr/>
        <p:txBody>
          <a:bodyPr/>
          <a:lstStyle/>
          <a:p>
            <a:r>
              <a:rPr lang="en-US"/>
              <a:t>Picking up the RSSB Underload Toolbox in the UIC Human Factors Working Group and adapting it for use at DB Regio in a German context</a:t>
            </a:r>
            <a:endParaRPr lang="de-DE"/>
          </a:p>
        </p:txBody>
      </p:sp>
      <p:sp>
        <p:nvSpPr>
          <p:cNvPr id="3" name="Fußzeilenplatzhalter 2">
            <a:extLst>
              <a:ext uri="{FF2B5EF4-FFF2-40B4-BE49-F238E27FC236}">
                <a16:creationId xmlns:a16="http://schemas.microsoft.com/office/drawing/2014/main" id="{83BEF649-679B-4268-A518-8ABBEE6655F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DB Sans"/>
                <a:ea typeface="+mn-ea"/>
                <a:cs typeface="+mn-cs"/>
              </a:rPr>
              <a:t>© DB Regio AG | R.RBE Eisenbahnbetriebsleiter</a:t>
            </a:r>
          </a:p>
        </p:txBody>
      </p:sp>
      <p:sp>
        <p:nvSpPr>
          <p:cNvPr id="4" name="Foliennummernplatzhalter 3">
            <a:extLst>
              <a:ext uri="{FF2B5EF4-FFF2-40B4-BE49-F238E27FC236}">
                <a16:creationId xmlns:a16="http://schemas.microsoft.com/office/drawing/2014/main" id="{55443702-831E-4BF1-A970-56DE632007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000" b="1" i="0" u="none" strike="noStrike" kern="1200" cap="none" spc="0" normalizeH="0" baseline="0" noProof="0">
              <a:ln>
                <a:noFill/>
              </a:ln>
              <a:solidFill>
                <a:prstClr val="black"/>
              </a:solidFill>
              <a:effectLst/>
              <a:uLnTx/>
              <a:uFillTx/>
              <a:latin typeface="DB Sans"/>
              <a:ea typeface="+mn-ea"/>
              <a:cs typeface="+mn-cs"/>
            </a:endParaRPr>
          </a:p>
        </p:txBody>
      </p:sp>
      <p:pic>
        <p:nvPicPr>
          <p:cNvPr id="18" name="Grafik 17">
            <a:extLst>
              <a:ext uri="{FF2B5EF4-FFF2-40B4-BE49-F238E27FC236}">
                <a16:creationId xmlns:a16="http://schemas.microsoft.com/office/drawing/2014/main" id="{E52E66F7-9A7D-408F-8088-B8112B923FE1}"/>
              </a:ext>
            </a:extLst>
          </p:cNvPr>
          <p:cNvPicPr>
            <a:picLocks noChangeAspect="1"/>
          </p:cNvPicPr>
          <p:nvPr/>
        </p:nvPicPr>
        <p:blipFill>
          <a:blip r:embed="rId12"/>
          <a:stretch>
            <a:fillRect/>
          </a:stretch>
        </p:blipFill>
        <p:spPr>
          <a:xfrm>
            <a:off x="237645" y="1222771"/>
            <a:ext cx="1910280" cy="1355682"/>
          </a:xfrm>
          <a:prstGeom prst="rect">
            <a:avLst/>
          </a:prstGeom>
          <a:effectLst>
            <a:outerShdw blurRad="50800" dist="38100" dir="2700000" algn="tl" rotWithShape="0">
              <a:prstClr val="black">
                <a:alpha val="40000"/>
              </a:prstClr>
            </a:outerShdw>
          </a:effectLst>
        </p:spPr>
      </p:pic>
      <p:sp>
        <p:nvSpPr>
          <p:cNvPr id="25" name="AutoShape 20">
            <a:extLst>
              <a:ext uri="{FF2B5EF4-FFF2-40B4-BE49-F238E27FC236}">
                <a16:creationId xmlns:a16="http://schemas.microsoft.com/office/drawing/2014/main" id="{B69212B8-F182-49D8-B27E-21829D65472F}"/>
              </a:ext>
            </a:extLst>
          </p:cNvPr>
          <p:cNvSpPr>
            <a:spLocks noChangeArrowheads="1"/>
          </p:cNvSpPr>
          <p:nvPr/>
        </p:nvSpPr>
        <p:spPr bwMode="auto">
          <a:xfrm>
            <a:off x="8187613" y="1216212"/>
            <a:ext cx="1691571" cy="1368000"/>
          </a:xfrm>
          <a:prstGeom prst="rect">
            <a:avLst/>
          </a:prstGeom>
          <a:solidFill>
            <a:srgbClr val="EFF2F2"/>
          </a:solidFill>
          <a:ln w="12700" algn="ctr">
            <a:noFill/>
            <a:round/>
            <a:headEnd/>
            <a:tailEnd/>
          </a:ln>
          <a:effectLst/>
        </p:spPr>
        <p:txBody>
          <a:bodyPr lIns="108000" tIns="108000" rIns="108000" bIns="108000" anchor="b"/>
          <a:lstStyle/>
          <a:p>
            <a:pPr marL="0" marR="0" lvl="0" indent="0" algn="ctr" defTabSz="914400" rtl="0" eaLnBrk="1" fontAlgn="auto" latinLnBrk="0" hangingPunct="1">
              <a:lnSpc>
                <a:spcPct val="100000"/>
              </a:lnSpc>
              <a:spcBef>
                <a:spcPct val="2500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DB Sans"/>
                <a:ea typeface="+mn-ea"/>
                <a:cs typeface="+mn-cs"/>
              </a:rPr>
              <a:t>Cab   </a:t>
            </a:r>
            <a:r>
              <a:rPr kumimoji="0" lang="de-DE" sz="1400" b="0" i="0" u="none" strike="noStrike" kern="1200" cap="none" spc="0" normalizeH="0" baseline="0" noProof="0" err="1">
                <a:ln>
                  <a:noFill/>
                </a:ln>
                <a:solidFill>
                  <a:srgbClr val="000000"/>
                </a:solidFill>
                <a:effectLst/>
                <a:uLnTx/>
                <a:uFillTx/>
                <a:latin typeface="DB Sans"/>
                <a:ea typeface="+mn-ea"/>
                <a:cs typeface="+mn-cs"/>
              </a:rPr>
              <a:t>environment</a:t>
            </a:r>
            <a:endParaRPr kumimoji="0" lang="de-DE" sz="1400" b="0" i="0" u="none" strike="noStrike" kern="1200" cap="none" spc="0" normalizeH="0" baseline="0" noProof="0">
              <a:ln>
                <a:noFill/>
              </a:ln>
              <a:solidFill>
                <a:srgbClr val="000000"/>
              </a:solidFill>
              <a:effectLst/>
              <a:uLnTx/>
              <a:uFillTx/>
              <a:latin typeface="DB Sans"/>
              <a:ea typeface="+mn-ea"/>
              <a:cs typeface="+mn-cs"/>
            </a:endParaRPr>
          </a:p>
        </p:txBody>
      </p:sp>
      <p:sp>
        <p:nvSpPr>
          <p:cNvPr id="26" name="AutoShape 22">
            <a:extLst>
              <a:ext uri="{FF2B5EF4-FFF2-40B4-BE49-F238E27FC236}">
                <a16:creationId xmlns:a16="http://schemas.microsoft.com/office/drawing/2014/main" id="{C061AA6B-0B6C-44AA-80B4-4C3557FF4749}"/>
              </a:ext>
            </a:extLst>
          </p:cNvPr>
          <p:cNvSpPr>
            <a:spLocks noChangeArrowheads="1"/>
          </p:cNvSpPr>
          <p:nvPr/>
        </p:nvSpPr>
        <p:spPr bwMode="auto">
          <a:xfrm>
            <a:off x="6245843" y="1217166"/>
            <a:ext cx="1692000" cy="1368000"/>
          </a:xfrm>
          <a:prstGeom prst="rect">
            <a:avLst/>
          </a:prstGeom>
          <a:solidFill>
            <a:srgbClr val="EFF2F2"/>
          </a:solidFill>
          <a:ln w="12700" algn="ctr">
            <a:noFill/>
            <a:round/>
            <a:headEnd/>
            <a:tailEnd/>
          </a:ln>
          <a:effectLst/>
        </p:spPr>
        <p:txBody>
          <a:bodyPr lIns="108000" tIns="108000" rIns="108000" bIns="108000" anchor="b"/>
          <a:lstStyle/>
          <a:p>
            <a:pPr marL="0" marR="0" lvl="0" indent="0" algn="ctr" defTabSz="914400" rtl="0" eaLnBrk="1" fontAlgn="auto" latinLnBrk="0" hangingPunct="1">
              <a:lnSpc>
                <a:spcPct val="100000"/>
              </a:lnSpc>
              <a:spcBef>
                <a:spcPct val="25000"/>
              </a:spcBef>
              <a:spcAft>
                <a:spcPts val="0"/>
              </a:spcAft>
              <a:buClrTx/>
              <a:buSzTx/>
              <a:buFontTx/>
              <a:buNone/>
              <a:tabLst/>
              <a:defRPr/>
            </a:pPr>
            <a:r>
              <a:rPr kumimoji="0" lang="de-DE" sz="1400" b="0" i="0" u="none" strike="noStrike" kern="1200" cap="none" spc="0" normalizeH="0" baseline="0" noProof="0" err="1">
                <a:ln>
                  <a:noFill/>
                </a:ln>
                <a:solidFill>
                  <a:srgbClr val="000000"/>
                </a:solidFill>
                <a:effectLst/>
                <a:uLnTx/>
                <a:uFillTx/>
                <a:latin typeface="DB Sans"/>
                <a:ea typeface="+mn-ea"/>
                <a:cs typeface="+mn-cs"/>
              </a:rPr>
              <a:t>Alertness</a:t>
            </a:r>
            <a:r>
              <a:rPr kumimoji="0" lang="de-DE" sz="1400" b="0" i="0" u="none" strike="noStrike" kern="1200" cap="none" spc="0" normalizeH="0" baseline="0" noProof="0">
                <a:ln>
                  <a:noFill/>
                </a:ln>
                <a:solidFill>
                  <a:srgbClr val="000000"/>
                </a:solidFill>
                <a:effectLst/>
                <a:uLnTx/>
                <a:uFillTx/>
                <a:latin typeface="DB Sans"/>
                <a:ea typeface="+mn-ea"/>
                <a:cs typeface="+mn-cs"/>
              </a:rPr>
              <a:t> </a:t>
            </a:r>
            <a:r>
              <a:rPr kumimoji="0" lang="de-DE" sz="1400" b="0" i="0" u="none" strike="noStrike" kern="1200" cap="none" spc="0" normalizeH="0" baseline="0" noProof="0" err="1">
                <a:ln>
                  <a:noFill/>
                </a:ln>
                <a:solidFill>
                  <a:srgbClr val="000000"/>
                </a:solidFill>
                <a:effectLst/>
                <a:uLnTx/>
                <a:uFillTx/>
                <a:latin typeface="DB Sans"/>
                <a:ea typeface="+mn-ea"/>
                <a:cs typeface="+mn-cs"/>
              </a:rPr>
              <a:t>booster</a:t>
            </a:r>
            <a:r>
              <a:rPr kumimoji="0" lang="de-DE" sz="1400" b="0" i="0" u="none" strike="noStrike" kern="1200" cap="none" spc="0" normalizeH="0" baseline="0" noProof="0">
                <a:ln>
                  <a:noFill/>
                </a:ln>
                <a:solidFill>
                  <a:srgbClr val="000000"/>
                </a:solidFill>
                <a:effectLst/>
                <a:uLnTx/>
                <a:uFillTx/>
                <a:latin typeface="DB Sans"/>
                <a:ea typeface="+mn-ea"/>
                <a:cs typeface="+mn-cs"/>
              </a:rPr>
              <a:t> </a:t>
            </a:r>
            <a:r>
              <a:rPr kumimoji="0" lang="de-DE" sz="1400" b="0" i="0" u="none" strike="noStrike" kern="1200" cap="none" spc="0" normalizeH="0" baseline="0" noProof="0" err="1">
                <a:ln>
                  <a:noFill/>
                </a:ln>
                <a:solidFill>
                  <a:srgbClr val="000000"/>
                </a:solidFill>
                <a:effectLst/>
                <a:uLnTx/>
                <a:uFillTx/>
                <a:latin typeface="DB Sans"/>
                <a:ea typeface="+mn-ea"/>
                <a:cs typeface="+mn-cs"/>
              </a:rPr>
              <a:t>techniques</a:t>
            </a:r>
            <a:endParaRPr kumimoji="0" lang="de-DE" sz="1400" b="0" i="0" u="none" strike="noStrike" kern="1200" cap="none" spc="0" normalizeH="0" baseline="0" noProof="0">
              <a:ln>
                <a:noFill/>
              </a:ln>
              <a:solidFill>
                <a:srgbClr val="000000"/>
              </a:solidFill>
              <a:effectLst/>
              <a:uLnTx/>
              <a:uFillTx/>
              <a:latin typeface="DB Sans"/>
              <a:ea typeface="+mn-ea"/>
              <a:cs typeface="+mn-cs"/>
            </a:endParaRPr>
          </a:p>
        </p:txBody>
      </p:sp>
      <p:sp>
        <p:nvSpPr>
          <p:cNvPr id="27" name="AutoShape 24">
            <a:extLst>
              <a:ext uri="{FF2B5EF4-FFF2-40B4-BE49-F238E27FC236}">
                <a16:creationId xmlns:a16="http://schemas.microsoft.com/office/drawing/2014/main" id="{78FDA624-3B6B-40A7-8F9B-32660ECA7065}"/>
              </a:ext>
            </a:extLst>
          </p:cNvPr>
          <p:cNvSpPr>
            <a:spLocks noChangeArrowheads="1"/>
          </p:cNvSpPr>
          <p:nvPr/>
        </p:nvSpPr>
        <p:spPr bwMode="auto">
          <a:xfrm>
            <a:off x="4304073" y="1217166"/>
            <a:ext cx="1692000" cy="1368000"/>
          </a:xfrm>
          <a:prstGeom prst="rect">
            <a:avLst/>
          </a:prstGeom>
          <a:solidFill>
            <a:srgbClr val="EFF2F2"/>
          </a:solidFill>
          <a:ln w="12700" algn="ctr">
            <a:noFill/>
            <a:round/>
            <a:headEnd/>
            <a:tailEnd/>
          </a:ln>
          <a:effectLst/>
        </p:spPr>
        <p:txBody>
          <a:bodyPr lIns="108000" tIns="108000" rIns="108000" bIns="108000" anchor="b"/>
          <a:lstStyle/>
          <a:p>
            <a:pPr marL="0" marR="0" lvl="0" indent="0" algn="ctr" defTabSz="914400" rtl="0" eaLnBrk="1" fontAlgn="auto" latinLnBrk="0" hangingPunct="1">
              <a:lnSpc>
                <a:spcPct val="100000"/>
              </a:lnSpc>
              <a:spcBef>
                <a:spcPct val="25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DB Sans"/>
                <a:ea typeface="+mn-ea"/>
                <a:cs typeface="+mn-cs"/>
              </a:rPr>
              <a:t>Being active in the cab</a:t>
            </a:r>
            <a:endParaRPr kumimoji="0" lang="de-DE" sz="1400" b="0" i="0" u="none" strike="noStrike" kern="1200" cap="none" spc="0" normalizeH="0" baseline="0" noProof="0">
              <a:ln>
                <a:noFill/>
              </a:ln>
              <a:solidFill>
                <a:srgbClr val="000000"/>
              </a:solidFill>
              <a:effectLst/>
              <a:uLnTx/>
              <a:uFillTx/>
              <a:latin typeface="DB Sans"/>
              <a:ea typeface="+mn-ea"/>
              <a:cs typeface="+mn-cs"/>
            </a:endParaRPr>
          </a:p>
        </p:txBody>
      </p:sp>
      <p:sp>
        <p:nvSpPr>
          <p:cNvPr id="28" name="AutoShape 26">
            <a:extLst>
              <a:ext uri="{FF2B5EF4-FFF2-40B4-BE49-F238E27FC236}">
                <a16:creationId xmlns:a16="http://schemas.microsoft.com/office/drawing/2014/main" id="{D70DA4F5-E399-4391-A3AB-C212AFF2934F}"/>
              </a:ext>
            </a:extLst>
          </p:cNvPr>
          <p:cNvSpPr>
            <a:spLocks noChangeArrowheads="1"/>
          </p:cNvSpPr>
          <p:nvPr/>
        </p:nvSpPr>
        <p:spPr bwMode="auto">
          <a:xfrm>
            <a:off x="2362732" y="1216066"/>
            <a:ext cx="1691571" cy="1368146"/>
          </a:xfrm>
          <a:prstGeom prst="rect">
            <a:avLst/>
          </a:prstGeom>
          <a:solidFill>
            <a:srgbClr val="EFF2F2"/>
          </a:solidFill>
          <a:ln w="12700" algn="ctr">
            <a:noFill/>
            <a:round/>
            <a:headEnd/>
            <a:tailEnd/>
          </a:ln>
          <a:effectLst/>
        </p:spPr>
        <p:txBody>
          <a:bodyPr lIns="108000" tIns="108000" rIns="108000" bIns="108000" anchor="b"/>
          <a:lstStyle/>
          <a:p>
            <a:pPr marL="0" marR="0" lvl="0" indent="0" algn="ctr" defTabSz="914400" rtl="0" eaLnBrk="1" fontAlgn="auto" latinLnBrk="0" hangingPunct="1">
              <a:lnSpc>
                <a:spcPct val="100000"/>
              </a:lnSpc>
              <a:spcBef>
                <a:spcPct val="25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DB Sans"/>
                <a:ea typeface="+mn-ea"/>
                <a:cs typeface="+mn-cs"/>
              </a:rPr>
              <a:t>Additional tasks relating to driving</a:t>
            </a:r>
            <a:endParaRPr kumimoji="0" lang="de-DE" sz="1400" b="0" i="0" u="none" strike="noStrike" kern="1200" cap="none" spc="0" normalizeH="0" baseline="0" noProof="0">
              <a:ln>
                <a:noFill/>
              </a:ln>
              <a:solidFill>
                <a:srgbClr val="000000"/>
              </a:solidFill>
              <a:effectLst/>
              <a:uLnTx/>
              <a:uFillTx/>
              <a:latin typeface="DB Sans"/>
              <a:ea typeface="+mn-ea"/>
              <a:cs typeface="+mn-cs"/>
            </a:endParaRPr>
          </a:p>
        </p:txBody>
      </p:sp>
      <p:sp>
        <p:nvSpPr>
          <p:cNvPr id="29" name="Freihandform: Form 25">
            <a:extLst>
              <a:ext uri="{FF2B5EF4-FFF2-40B4-BE49-F238E27FC236}">
                <a16:creationId xmlns:a16="http://schemas.microsoft.com/office/drawing/2014/main" id="{FFBEB865-561E-47E9-B650-2F1BE492350A}"/>
              </a:ext>
            </a:extLst>
          </p:cNvPr>
          <p:cNvSpPr>
            <a:spLocks noChangeAspect="1"/>
          </p:cNvSpPr>
          <p:nvPr>
            <p:custDataLst>
              <p:tags r:id="rId1"/>
            </p:custDataLst>
          </p:nvPr>
        </p:nvSpPr>
        <p:spPr bwMode="auto">
          <a:xfrm>
            <a:off x="2964574" y="2810787"/>
            <a:ext cx="499191" cy="141520"/>
          </a:xfrm>
          <a:custGeom>
            <a:avLst/>
            <a:gdLst>
              <a:gd name="connsiteX0" fmla="*/ 14218 w 678388"/>
              <a:gd name="connsiteY0" fmla="*/ 1307 h 192323"/>
              <a:gd name="connsiteX1" fmla="*/ 30733 w 678388"/>
              <a:gd name="connsiteY1" fmla="*/ 2028 h 192323"/>
              <a:gd name="connsiteX2" fmla="*/ 340840 w 678388"/>
              <a:gd name="connsiteY2" fmla="*/ 146634 h 192323"/>
              <a:gd name="connsiteX3" fmla="*/ 647654 w 678388"/>
              <a:gd name="connsiteY3" fmla="*/ 3563 h 192323"/>
              <a:gd name="connsiteX4" fmla="*/ 676359 w 678388"/>
              <a:gd name="connsiteY4" fmla="*/ 14011 h 192323"/>
              <a:gd name="connsiteX5" fmla="*/ 665913 w 678388"/>
              <a:gd name="connsiteY5" fmla="*/ 42715 h 192323"/>
              <a:gd name="connsiteX6" fmla="*/ 349429 w 678388"/>
              <a:gd name="connsiteY6" fmla="*/ 190294 h 192323"/>
              <a:gd name="connsiteX7" fmla="*/ 332913 w 678388"/>
              <a:gd name="connsiteY7" fmla="*/ 191016 h 192323"/>
              <a:gd name="connsiteX8" fmla="*/ 330526 w 678388"/>
              <a:gd name="connsiteY8" fmla="*/ 188828 h 192323"/>
              <a:gd name="connsiteX9" fmla="*/ 328959 w 678388"/>
              <a:gd name="connsiteY9" fmla="*/ 188759 h 192323"/>
              <a:gd name="connsiteX10" fmla="*/ 12476 w 678388"/>
              <a:gd name="connsiteY10" fmla="*/ 41181 h 192323"/>
              <a:gd name="connsiteX11" fmla="*/ 2028 w 678388"/>
              <a:gd name="connsiteY11" fmla="*/ 12476 h 192323"/>
              <a:gd name="connsiteX12" fmla="*/ 14218 w 678388"/>
              <a:gd name="connsiteY12" fmla="*/ 1307 h 19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388" h="192323">
                <a:moveTo>
                  <a:pt x="14218" y="1307"/>
                </a:moveTo>
                <a:cubicBezTo>
                  <a:pt x="19412" y="-583"/>
                  <a:pt x="25328" y="-492"/>
                  <a:pt x="30733" y="2028"/>
                </a:cubicBezTo>
                <a:lnTo>
                  <a:pt x="340840" y="146634"/>
                </a:lnTo>
                <a:lnTo>
                  <a:pt x="647654" y="3563"/>
                </a:lnTo>
                <a:cubicBezTo>
                  <a:pt x="658466" y="-1479"/>
                  <a:pt x="671318" y="3200"/>
                  <a:pt x="676359" y="14011"/>
                </a:cubicBezTo>
                <a:cubicBezTo>
                  <a:pt x="681401" y="24822"/>
                  <a:pt x="676723" y="37674"/>
                  <a:pt x="665913" y="42715"/>
                </a:cubicBezTo>
                <a:lnTo>
                  <a:pt x="349429" y="190294"/>
                </a:lnTo>
                <a:cubicBezTo>
                  <a:pt x="344024" y="192815"/>
                  <a:pt x="338107" y="192906"/>
                  <a:pt x="332913" y="191016"/>
                </a:cubicBezTo>
                <a:lnTo>
                  <a:pt x="330526" y="188828"/>
                </a:lnTo>
                <a:lnTo>
                  <a:pt x="328959" y="188759"/>
                </a:lnTo>
                <a:lnTo>
                  <a:pt x="12476" y="41181"/>
                </a:lnTo>
                <a:cubicBezTo>
                  <a:pt x="1665" y="36139"/>
                  <a:pt x="-3013" y="23287"/>
                  <a:pt x="2028" y="12476"/>
                </a:cubicBezTo>
                <a:cubicBezTo>
                  <a:pt x="4549" y="7071"/>
                  <a:pt x="9022" y="3198"/>
                  <a:pt x="14218" y="130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30" name="Freihandform: Form 25">
            <a:extLst>
              <a:ext uri="{FF2B5EF4-FFF2-40B4-BE49-F238E27FC236}">
                <a16:creationId xmlns:a16="http://schemas.microsoft.com/office/drawing/2014/main" id="{3C04EE24-0E3D-40D3-89EF-5A3F66850CD3}"/>
              </a:ext>
            </a:extLst>
          </p:cNvPr>
          <p:cNvSpPr>
            <a:spLocks noChangeAspect="1"/>
          </p:cNvSpPr>
          <p:nvPr>
            <p:custDataLst>
              <p:tags r:id="rId2"/>
            </p:custDataLst>
          </p:nvPr>
        </p:nvSpPr>
        <p:spPr bwMode="auto">
          <a:xfrm>
            <a:off x="4900320" y="2829951"/>
            <a:ext cx="499191" cy="141520"/>
          </a:xfrm>
          <a:custGeom>
            <a:avLst/>
            <a:gdLst>
              <a:gd name="connsiteX0" fmla="*/ 14218 w 678388"/>
              <a:gd name="connsiteY0" fmla="*/ 1307 h 192323"/>
              <a:gd name="connsiteX1" fmla="*/ 30733 w 678388"/>
              <a:gd name="connsiteY1" fmla="*/ 2028 h 192323"/>
              <a:gd name="connsiteX2" fmla="*/ 340840 w 678388"/>
              <a:gd name="connsiteY2" fmla="*/ 146634 h 192323"/>
              <a:gd name="connsiteX3" fmla="*/ 647654 w 678388"/>
              <a:gd name="connsiteY3" fmla="*/ 3563 h 192323"/>
              <a:gd name="connsiteX4" fmla="*/ 676359 w 678388"/>
              <a:gd name="connsiteY4" fmla="*/ 14011 h 192323"/>
              <a:gd name="connsiteX5" fmla="*/ 665913 w 678388"/>
              <a:gd name="connsiteY5" fmla="*/ 42715 h 192323"/>
              <a:gd name="connsiteX6" fmla="*/ 349429 w 678388"/>
              <a:gd name="connsiteY6" fmla="*/ 190294 h 192323"/>
              <a:gd name="connsiteX7" fmla="*/ 332913 w 678388"/>
              <a:gd name="connsiteY7" fmla="*/ 191016 h 192323"/>
              <a:gd name="connsiteX8" fmla="*/ 330526 w 678388"/>
              <a:gd name="connsiteY8" fmla="*/ 188828 h 192323"/>
              <a:gd name="connsiteX9" fmla="*/ 328959 w 678388"/>
              <a:gd name="connsiteY9" fmla="*/ 188759 h 192323"/>
              <a:gd name="connsiteX10" fmla="*/ 12476 w 678388"/>
              <a:gd name="connsiteY10" fmla="*/ 41181 h 192323"/>
              <a:gd name="connsiteX11" fmla="*/ 2028 w 678388"/>
              <a:gd name="connsiteY11" fmla="*/ 12476 h 192323"/>
              <a:gd name="connsiteX12" fmla="*/ 14218 w 678388"/>
              <a:gd name="connsiteY12" fmla="*/ 1307 h 19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388" h="192323">
                <a:moveTo>
                  <a:pt x="14218" y="1307"/>
                </a:moveTo>
                <a:cubicBezTo>
                  <a:pt x="19412" y="-583"/>
                  <a:pt x="25328" y="-492"/>
                  <a:pt x="30733" y="2028"/>
                </a:cubicBezTo>
                <a:lnTo>
                  <a:pt x="340840" y="146634"/>
                </a:lnTo>
                <a:lnTo>
                  <a:pt x="647654" y="3563"/>
                </a:lnTo>
                <a:cubicBezTo>
                  <a:pt x="658466" y="-1479"/>
                  <a:pt x="671318" y="3200"/>
                  <a:pt x="676359" y="14011"/>
                </a:cubicBezTo>
                <a:cubicBezTo>
                  <a:pt x="681401" y="24822"/>
                  <a:pt x="676723" y="37674"/>
                  <a:pt x="665913" y="42715"/>
                </a:cubicBezTo>
                <a:lnTo>
                  <a:pt x="349429" y="190294"/>
                </a:lnTo>
                <a:cubicBezTo>
                  <a:pt x="344024" y="192815"/>
                  <a:pt x="338107" y="192906"/>
                  <a:pt x="332913" y="191016"/>
                </a:cubicBezTo>
                <a:lnTo>
                  <a:pt x="330526" y="188828"/>
                </a:lnTo>
                <a:lnTo>
                  <a:pt x="328959" y="188759"/>
                </a:lnTo>
                <a:lnTo>
                  <a:pt x="12476" y="41181"/>
                </a:lnTo>
                <a:cubicBezTo>
                  <a:pt x="1665" y="36139"/>
                  <a:pt x="-3013" y="23287"/>
                  <a:pt x="2028" y="12476"/>
                </a:cubicBezTo>
                <a:cubicBezTo>
                  <a:pt x="4549" y="7071"/>
                  <a:pt x="9022" y="3198"/>
                  <a:pt x="14218" y="130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31" name="Freihandform: Form 25">
            <a:extLst>
              <a:ext uri="{FF2B5EF4-FFF2-40B4-BE49-F238E27FC236}">
                <a16:creationId xmlns:a16="http://schemas.microsoft.com/office/drawing/2014/main" id="{2342B8C5-593F-4CC3-A42E-336915229EC1}"/>
              </a:ext>
            </a:extLst>
          </p:cNvPr>
          <p:cNvSpPr>
            <a:spLocks noChangeAspect="1"/>
          </p:cNvSpPr>
          <p:nvPr>
            <p:custDataLst>
              <p:tags r:id="rId3"/>
            </p:custDataLst>
          </p:nvPr>
        </p:nvSpPr>
        <p:spPr bwMode="auto">
          <a:xfrm>
            <a:off x="6836066" y="2821270"/>
            <a:ext cx="499191" cy="141520"/>
          </a:xfrm>
          <a:custGeom>
            <a:avLst/>
            <a:gdLst>
              <a:gd name="connsiteX0" fmla="*/ 14218 w 678388"/>
              <a:gd name="connsiteY0" fmla="*/ 1307 h 192323"/>
              <a:gd name="connsiteX1" fmla="*/ 30733 w 678388"/>
              <a:gd name="connsiteY1" fmla="*/ 2028 h 192323"/>
              <a:gd name="connsiteX2" fmla="*/ 340840 w 678388"/>
              <a:gd name="connsiteY2" fmla="*/ 146634 h 192323"/>
              <a:gd name="connsiteX3" fmla="*/ 647654 w 678388"/>
              <a:gd name="connsiteY3" fmla="*/ 3563 h 192323"/>
              <a:gd name="connsiteX4" fmla="*/ 676359 w 678388"/>
              <a:gd name="connsiteY4" fmla="*/ 14011 h 192323"/>
              <a:gd name="connsiteX5" fmla="*/ 665913 w 678388"/>
              <a:gd name="connsiteY5" fmla="*/ 42715 h 192323"/>
              <a:gd name="connsiteX6" fmla="*/ 349429 w 678388"/>
              <a:gd name="connsiteY6" fmla="*/ 190294 h 192323"/>
              <a:gd name="connsiteX7" fmla="*/ 332913 w 678388"/>
              <a:gd name="connsiteY7" fmla="*/ 191016 h 192323"/>
              <a:gd name="connsiteX8" fmla="*/ 330526 w 678388"/>
              <a:gd name="connsiteY8" fmla="*/ 188828 h 192323"/>
              <a:gd name="connsiteX9" fmla="*/ 328959 w 678388"/>
              <a:gd name="connsiteY9" fmla="*/ 188759 h 192323"/>
              <a:gd name="connsiteX10" fmla="*/ 12476 w 678388"/>
              <a:gd name="connsiteY10" fmla="*/ 41181 h 192323"/>
              <a:gd name="connsiteX11" fmla="*/ 2028 w 678388"/>
              <a:gd name="connsiteY11" fmla="*/ 12476 h 192323"/>
              <a:gd name="connsiteX12" fmla="*/ 14218 w 678388"/>
              <a:gd name="connsiteY12" fmla="*/ 1307 h 19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388" h="192323">
                <a:moveTo>
                  <a:pt x="14218" y="1307"/>
                </a:moveTo>
                <a:cubicBezTo>
                  <a:pt x="19412" y="-583"/>
                  <a:pt x="25328" y="-492"/>
                  <a:pt x="30733" y="2028"/>
                </a:cubicBezTo>
                <a:lnTo>
                  <a:pt x="340840" y="146634"/>
                </a:lnTo>
                <a:lnTo>
                  <a:pt x="647654" y="3563"/>
                </a:lnTo>
                <a:cubicBezTo>
                  <a:pt x="658466" y="-1479"/>
                  <a:pt x="671318" y="3200"/>
                  <a:pt x="676359" y="14011"/>
                </a:cubicBezTo>
                <a:cubicBezTo>
                  <a:pt x="681401" y="24822"/>
                  <a:pt x="676723" y="37674"/>
                  <a:pt x="665913" y="42715"/>
                </a:cubicBezTo>
                <a:lnTo>
                  <a:pt x="349429" y="190294"/>
                </a:lnTo>
                <a:cubicBezTo>
                  <a:pt x="344024" y="192815"/>
                  <a:pt x="338107" y="192906"/>
                  <a:pt x="332913" y="191016"/>
                </a:cubicBezTo>
                <a:lnTo>
                  <a:pt x="330526" y="188828"/>
                </a:lnTo>
                <a:lnTo>
                  <a:pt x="328959" y="188759"/>
                </a:lnTo>
                <a:lnTo>
                  <a:pt x="12476" y="41181"/>
                </a:lnTo>
                <a:cubicBezTo>
                  <a:pt x="1665" y="36139"/>
                  <a:pt x="-3013" y="23287"/>
                  <a:pt x="2028" y="12476"/>
                </a:cubicBezTo>
                <a:cubicBezTo>
                  <a:pt x="4549" y="7071"/>
                  <a:pt x="9022" y="3198"/>
                  <a:pt x="14218" y="130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32" name="Freihandform: Form 25">
            <a:extLst>
              <a:ext uri="{FF2B5EF4-FFF2-40B4-BE49-F238E27FC236}">
                <a16:creationId xmlns:a16="http://schemas.microsoft.com/office/drawing/2014/main" id="{82C062C9-28DC-4EE1-B2D5-DC75759EFF45}"/>
              </a:ext>
            </a:extLst>
          </p:cNvPr>
          <p:cNvSpPr>
            <a:spLocks noChangeAspect="1"/>
          </p:cNvSpPr>
          <p:nvPr>
            <p:custDataLst>
              <p:tags r:id="rId4"/>
            </p:custDataLst>
          </p:nvPr>
        </p:nvSpPr>
        <p:spPr bwMode="auto">
          <a:xfrm>
            <a:off x="8771812" y="2821270"/>
            <a:ext cx="499191" cy="141520"/>
          </a:xfrm>
          <a:custGeom>
            <a:avLst/>
            <a:gdLst>
              <a:gd name="connsiteX0" fmla="*/ 14218 w 678388"/>
              <a:gd name="connsiteY0" fmla="*/ 1307 h 192323"/>
              <a:gd name="connsiteX1" fmla="*/ 30733 w 678388"/>
              <a:gd name="connsiteY1" fmla="*/ 2028 h 192323"/>
              <a:gd name="connsiteX2" fmla="*/ 340840 w 678388"/>
              <a:gd name="connsiteY2" fmla="*/ 146634 h 192323"/>
              <a:gd name="connsiteX3" fmla="*/ 647654 w 678388"/>
              <a:gd name="connsiteY3" fmla="*/ 3563 h 192323"/>
              <a:gd name="connsiteX4" fmla="*/ 676359 w 678388"/>
              <a:gd name="connsiteY4" fmla="*/ 14011 h 192323"/>
              <a:gd name="connsiteX5" fmla="*/ 665913 w 678388"/>
              <a:gd name="connsiteY5" fmla="*/ 42715 h 192323"/>
              <a:gd name="connsiteX6" fmla="*/ 349429 w 678388"/>
              <a:gd name="connsiteY6" fmla="*/ 190294 h 192323"/>
              <a:gd name="connsiteX7" fmla="*/ 332913 w 678388"/>
              <a:gd name="connsiteY7" fmla="*/ 191016 h 192323"/>
              <a:gd name="connsiteX8" fmla="*/ 330526 w 678388"/>
              <a:gd name="connsiteY8" fmla="*/ 188828 h 192323"/>
              <a:gd name="connsiteX9" fmla="*/ 328959 w 678388"/>
              <a:gd name="connsiteY9" fmla="*/ 188759 h 192323"/>
              <a:gd name="connsiteX10" fmla="*/ 12476 w 678388"/>
              <a:gd name="connsiteY10" fmla="*/ 41181 h 192323"/>
              <a:gd name="connsiteX11" fmla="*/ 2028 w 678388"/>
              <a:gd name="connsiteY11" fmla="*/ 12476 h 192323"/>
              <a:gd name="connsiteX12" fmla="*/ 14218 w 678388"/>
              <a:gd name="connsiteY12" fmla="*/ 1307 h 19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388" h="192323">
                <a:moveTo>
                  <a:pt x="14218" y="1307"/>
                </a:moveTo>
                <a:cubicBezTo>
                  <a:pt x="19412" y="-583"/>
                  <a:pt x="25328" y="-492"/>
                  <a:pt x="30733" y="2028"/>
                </a:cubicBezTo>
                <a:lnTo>
                  <a:pt x="340840" y="146634"/>
                </a:lnTo>
                <a:lnTo>
                  <a:pt x="647654" y="3563"/>
                </a:lnTo>
                <a:cubicBezTo>
                  <a:pt x="658466" y="-1479"/>
                  <a:pt x="671318" y="3200"/>
                  <a:pt x="676359" y="14011"/>
                </a:cubicBezTo>
                <a:cubicBezTo>
                  <a:pt x="681401" y="24822"/>
                  <a:pt x="676723" y="37674"/>
                  <a:pt x="665913" y="42715"/>
                </a:cubicBezTo>
                <a:lnTo>
                  <a:pt x="349429" y="190294"/>
                </a:lnTo>
                <a:cubicBezTo>
                  <a:pt x="344024" y="192815"/>
                  <a:pt x="338107" y="192906"/>
                  <a:pt x="332913" y="191016"/>
                </a:cubicBezTo>
                <a:lnTo>
                  <a:pt x="330526" y="188828"/>
                </a:lnTo>
                <a:lnTo>
                  <a:pt x="328959" y="188759"/>
                </a:lnTo>
                <a:lnTo>
                  <a:pt x="12476" y="41181"/>
                </a:lnTo>
                <a:cubicBezTo>
                  <a:pt x="1665" y="36139"/>
                  <a:pt x="-3013" y="23287"/>
                  <a:pt x="2028" y="12476"/>
                </a:cubicBezTo>
                <a:cubicBezTo>
                  <a:pt x="4549" y="7071"/>
                  <a:pt x="9022" y="3198"/>
                  <a:pt x="14218" y="130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grpSp>
        <p:nvGrpSpPr>
          <p:cNvPr id="33" name="easyIcon">
            <a:extLst>
              <a:ext uri="{FF2B5EF4-FFF2-40B4-BE49-F238E27FC236}">
                <a16:creationId xmlns:a16="http://schemas.microsoft.com/office/drawing/2014/main" id="{F208578D-478C-4ED3-BDB2-03A9230AF94E}"/>
              </a:ext>
            </a:extLst>
          </p:cNvPr>
          <p:cNvGrpSpPr>
            <a:grpSpLocks noChangeAspect="1"/>
          </p:cNvGrpSpPr>
          <p:nvPr>
            <p:custDataLst>
              <p:tags r:id="rId5"/>
            </p:custDataLst>
          </p:nvPr>
        </p:nvGrpSpPr>
        <p:grpSpPr>
          <a:xfrm>
            <a:off x="6842713" y="1259651"/>
            <a:ext cx="648000" cy="648000"/>
            <a:chOff x="1840418" y="2211256"/>
            <a:chExt cx="446281" cy="446281"/>
          </a:xfrm>
        </p:grpSpPr>
        <p:sp>
          <p:nvSpPr>
            <p:cNvPr id="34" name="Background">
              <a:extLst>
                <a:ext uri="{FF2B5EF4-FFF2-40B4-BE49-F238E27FC236}">
                  <a16:creationId xmlns:a16="http://schemas.microsoft.com/office/drawing/2014/main" id="{F832A45B-9997-4A1F-924E-74ED6894CD69}"/>
                </a:ext>
              </a:extLst>
            </p:cNvPr>
            <p:cNvSpPr/>
            <p:nvPr/>
          </p:nvSpPr>
          <p:spPr>
            <a:xfrm>
              <a:off x="1840418" y="2211256"/>
              <a:ext cx="446281" cy="446281"/>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35" name="Vector">
              <a:extLst>
                <a:ext uri="{FF2B5EF4-FFF2-40B4-BE49-F238E27FC236}">
                  <a16:creationId xmlns:a16="http://schemas.microsoft.com/office/drawing/2014/main" id="{D408FCE4-C95C-4736-B7E1-3C96E3D0FED8}"/>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849245" y="2220083"/>
              <a:ext cx="428625" cy="428625"/>
            </a:xfrm>
            <a:prstGeom prst="rect">
              <a:avLst/>
            </a:prstGeom>
          </p:spPr>
        </p:pic>
      </p:grpSp>
      <p:grpSp>
        <p:nvGrpSpPr>
          <p:cNvPr id="36" name="easyIcon">
            <a:extLst>
              <a:ext uri="{FF2B5EF4-FFF2-40B4-BE49-F238E27FC236}">
                <a16:creationId xmlns:a16="http://schemas.microsoft.com/office/drawing/2014/main" id="{594B151C-7F84-4DB2-8FE9-E05C8A630191}"/>
              </a:ext>
            </a:extLst>
          </p:cNvPr>
          <p:cNvGrpSpPr>
            <a:grpSpLocks noChangeAspect="1"/>
          </p:cNvGrpSpPr>
          <p:nvPr>
            <p:custDataLst>
              <p:tags r:id="rId6"/>
            </p:custDataLst>
          </p:nvPr>
        </p:nvGrpSpPr>
        <p:grpSpPr>
          <a:xfrm>
            <a:off x="2885538" y="1233977"/>
            <a:ext cx="648000" cy="648000"/>
            <a:chOff x="7601050" y="2211256"/>
            <a:chExt cx="446281" cy="446281"/>
          </a:xfrm>
        </p:grpSpPr>
        <p:sp>
          <p:nvSpPr>
            <p:cNvPr id="37" name="Background">
              <a:extLst>
                <a:ext uri="{FF2B5EF4-FFF2-40B4-BE49-F238E27FC236}">
                  <a16:creationId xmlns:a16="http://schemas.microsoft.com/office/drawing/2014/main" id="{C7515374-7081-479E-A3B9-FE4A46B97BCC}"/>
                </a:ext>
              </a:extLst>
            </p:cNvPr>
            <p:cNvSpPr/>
            <p:nvPr/>
          </p:nvSpPr>
          <p:spPr>
            <a:xfrm>
              <a:off x="7601050" y="2211256"/>
              <a:ext cx="446281" cy="446281"/>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38" name="Vector">
              <a:extLst>
                <a:ext uri="{FF2B5EF4-FFF2-40B4-BE49-F238E27FC236}">
                  <a16:creationId xmlns:a16="http://schemas.microsoft.com/office/drawing/2014/main" id="{2EA8F75F-B075-41D1-A650-6A7DAF4E0DF8}"/>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609877" y="2220083"/>
              <a:ext cx="428625" cy="428625"/>
            </a:xfrm>
            <a:prstGeom prst="rect">
              <a:avLst/>
            </a:prstGeom>
          </p:spPr>
        </p:pic>
      </p:grpSp>
      <p:grpSp>
        <p:nvGrpSpPr>
          <p:cNvPr id="39" name="easyIcon">
            <a:extLst>
              <a:ext uri="{FF2B5EF4-FFF2-40B4-BE49-F238E27FC236}">
                <a16:creationId xmlns:a16="http://schemas.microsoft.com/office/drawing/2014/main" id="{628AB92A-6EB3-443F-BEFD-B06B525EDAB1}"/>
              </a:ext>
            </a:extLst>
          </p:cNvPr>
          <p:cNvGrpSpPr>
            <a:grpSpLocks noChangeAspect="1"/>
          </p:cNvGrpSpPr>
          <p:nvPr>
            <p:custDataLst>
              <p:tags r:id="rId7"/>
            </p:custDataLst>
          </p:nvPr>
        </p:nvGrpSpPr>
        <p:grpSpPr>
          <a:xfrm>
            <a:off x="8637709" y="1292008"/>
            <a:ext cx="648000" cy="648000"/>
            <a:chOff x="688291" y="3799895"/>
            <a:chExt cx="446281" cy="446281"/>
          </a:xfrm>
        </p:grpSpPr>
        <p:sp>
          <p:nvSpPr>
            <p:cNvPr id="40" name="Background">
              <a:extLst>
                <a:ext uri="{FF2B5EF4-FFF2-40B4-BE49-F238E27FC236}">
                  <a16:creationId xmlns:a16="http://schemas.microsoft.com/office/drawing/2014/main" id="{3E686860-22E0-478B-8FE3-779C0CDFFC23}"/>
                </a:ext>
              </a:extLst>
            </p:cNvPr>
            <p:cNvSpPr/>
            <p:nvPr/>
          </p:nvSpPr>
          <p:spPr>
            <a:xfrm>
              <a:off x="688291" y="3799895"/>
              <a:ext cx="446281" cy="44628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sp>
          <p:nvSpPr>
            <p:cNvPr id="41" name="Vector">
              <a:extLst>
                <a:ext uri="{FF2B5EF4-FFF2-40B4-BE49-F238E27FC236}">
                  <a16:creationId xmlns:a16="http://schemas.microsoft.com/office/drawing/2014/main" id="{BA176BC4-B6C7-4138-94B7-3979DB5906A6}"/>
                </a:ext>
              </a:extLst>
            </p:cNvPr>
            <p:cNvSpPr>
              <a:spLocks noChangeAspect="1"/>
            </p:cNvSpPr>
            <p:nvPr/>
          </p:nvSpPr>
          <p:spPr>
            <a:xfrm>
              <a:off x="779058" y="3821754"/>
              <a:ext cx="264746" cy="402561"/>
            </a:xfrm>
            <a:custGeom>
              <a:avLst/>
              <a:gdLst>
                <a:gd name="connsiteX0" fmla="*/ 89486 w 264746"/>
                <a:gd name="connsiteY0" fmla="*/ 373129 h 402561"/>
                <a:gd name="connsiteX1" fmla="*/ 89486 w 264746"/>
                <a:gd name="connsiteY1" fmla="*/ 383511 h 402561"/>
                <a:gd name="connsiteX2" fmla="*/ 171782 w 264746"/>
                <a:gd name="connsiteY2" fmla="*/ 383511 h 402561"/>
                <a:gd name="connsiteX3" fmla="*/ 171782 w 264746"/>
                <a:gd name="connsiteY3" fmla="*/ 373129 h 402561"/>
                <a:gd name="connsiteX4" fmla="*/ 45766 w 264746"/>
                <a:gd name="connsiteY4" fmla="*/ 307978 h 402561"/>
                <a:gd name="connsiteX5" fmla="*/ 68626 w 264746"/>
                <a:gd name="connsiteY5" fmla="*/ 347888 h 402561"/>
                <a:gd name="connsiteX6" fmla="*/ 77484 w 264746"/>
                <a:gd name="connsiteY6" fmla="*/ 354079 h 402561"/>
                <a:gd name="connsiteX7" fmla="*/ 184545 w 264746"/>
                <a:gd name="connsiteY7" fmla="*/ 354079 h 402561"/>
                <a:gd name="connsiteX8" fmla="*/ 214359 w 264746"/>
                <a:gd name="connsiteY8" fmla="*/ 309026 h 402561"/>
                <a:gd name="connsiteX9" fmla="*/ 131586 w 264746"/>
                <a:gd name="connsiteY9" fmla="*/ 325409 h 402561"/>
                <a:gd name="connsiteX10" fmla="*/ 45766 w 264746"/>
                <a:gd name="connsiteY10" fmla="*/ 307978 h 402561"/>
                <a:gd name="connsiteX11" fmla="*/ 192547 w 264746"/>
                <a:gd name="connsiteY11" fmla="*/ 230635 h 402561"/>
                <a:gd name="connsiteX12" fmla="*/ 196642 w 264746"/>
                <a:gd name="connsiteY12" fmla="*/ 243493 h 402561"/>
                <a:gd name="connsiteX13" fmla="*/ 182831 w 264746"/>
                <a:gd name="connsiteY13" fmla="*/ 270163 h 402561"/>
                <a:gd name="connsiteX14" fmla="*/ 174354 w 264746"/>
                <a:gd name="connsiteY14" fmla="*/ 275307 h 402561"/>
                <a:gd name="connsiteX15" fmla="*/ 169972 w 264746"/>
                <a:gd name="connsiteY15" fmla="*/ 274259 h 402561"/>
                <a:gd name="connsiteX16" fmla="*/ 165877 w 264746"/>
                <a:gd name="connsiteY16" fmla="*/ 261400 h 402561"/>
                <a:gd name="connsiteX17" fmla="*/ 179688 w 264746"/>
                <a:gd name="connsiteY17" fmla="*/ 234730 h 402561"/>
                <a:gd name="connsiteX18" fmla="*/ 192547 w 264746"/>
                <a:gd name="connsiteY18" fmla="*/ 230635 h 402561"/>
                <a:gd name="connsiteX19" fmla="*/ 68626 w 264746"/>
                <a:gd name="connsiteY19" fmla="*/ 230635 h 402561"/>
                <a:gd name="connsiteX20" fmla="*/ 81485 w 264746"/>
                <a:gd name="connsiteY20" fmla="*/ 234730 h 402561"/>
                <a:gd name="connsiteX21" fmla="*/ 95296 w 264746"/>
                <a:gd name="connsiteY21" fmla="*/ 261400 h 402561"/>
                <a:gd name="connsiteX22" fmla="*/ 91201 w 264746"/>
                <a:gd name="connsiteY22" fmla="*/ 274259 h 402561"/>
                <a:gd name="connsiteX23" fmla="*/ 86819 w 264746"/>
                <a:gd name="connsiteY23" fmla="*/ 275307 h 402561"/>
                <a:gd name="connsiteX24" fmla="*/ 78342 w 264746"/>
                <a:gd name="connsiteY24" fmla="*/ 270163 h 402561"/>
                <a:gd name="connsiteX25" fmla="*/ 64531 w 264746"/>
                <a:gd name="connsiteY25" fmla="*/ 243493 h 402561"/>
                <a:gd name="connsiteX26" fmla="*/ 68626 w 264746"/>
                <a:gd name="connsiteY26" fmla="*/ 230635 h 402561"/>
                <a:gd name="connsiteX27" fmla="*/ 130730 w 264746"/>
                <a:gd name="connsiteY27" fmla="*/ 82152 h 402561"/>
                <a:gd name="connsiteX28" fmla="*/ 77294 w 264746"/>
                <a:gd name="connsiteY28" fmla="*/ 97476 h 402561"/>
                <a:gd name="connsiteX29" fmla="*/ 75008 w 264746"/>
                <a:gd name="connsiteY29" fmla="*/ 152911 h 402561"/>
                <a:gd name="connsiteX30" fmla="*/ 131206 w 264746"/>
                <a:gd name="connsiteY30" fmla="*/ 179867 h 402561"/>
                <a:gd name="connsiteX31" fmla="*/ 187689 w 264746"/>
                <a:gd name="connsiteY31" fmla="*/ 153102 h 402561"/>
                <a:gd name="connsiteX32" fmla="*/ 193785 w 264746"/>
                <a:gd name="connsiteY32" fmla="*/ 117764 h 402561"/>
                <a:gd name="connsiteX33" fmla="*/ 186927 w 264746"/>
                <a:gd name="connsiteY33" fmla="*/ 98714 h 402561"/>
                <a:gd name="connsiteX34" fmla="*/ 186451 w 264746"/>
                <a:gd name="connsiteY34" fmla="*/ 98333 h 402561"/>
                <a:gd name="connsiteX35" fmla="*/ 130730 w 264746"/>
                <a:gd name="connsiteY35" fmla="*/ 82152 h 402561"/>
                <a:gd name="connsiteX36" fmla="*/ 129503 w 264746"/>
                <a:gd name="connsiteY36" fmla="*/ 62757 h 402561"/>
                <a:gd name="connsiteX37" fmla="*/ 198166 w 264746"/>
                <a:gd name="connsiteY37" fmla="*/ 83188 h 402561"/>
                <a:gd name="connsiteX38" fmla="*/ 212549 w 264746"/>
                <a:gd name="connsiteY38" fmla="*/ 114144 h 402561"/>
                <a:gd name="connsiteX39" fmla="*/ 202834 w 264746"/>
                <a:gd name="connsiteY39" fmla="*/ 164532 h 402561"/>
                <a:gd name="connsiteX40" fmla="*/ 131872 w 264746"/>
                <a:gd name="connsiteY40" fmla="*/ 198917 h 402561"/>
                <a:gd name="connsiteX41" fmla="*/ 130539 w 264746"/>
                <a:gd name="connsiteY41" fmla="*/ 198917 h 402561"/>
                <a:gd name="connsiteX42" fmla="*/ 59863 w 264746"/>
                <a:gd name="connsiteY42" fmla="*/ 164436 h 402561"/>
                <a:gd name="connsiteX43" fmla="*/ 63197 w 264746"/>
                <a:gd name="connsiteY43" fmla="*/ 84617 h 402561"/>
                <a:gd name="connsiteX44" fmla="*/ 64054 w 264746"/>
                <a:gd name="connsiteY44" fmla="*/ 83760 h 402561"/>
                <a:gd name="connsiteX45" fmla="*/ 129503 w 264746"/>
                <a:gd name="connsiteY45" fmla="*/ 62757 h 402561"/>
                <a:gd name="connsiteX46" fmla="*/ 136063 w 264746"/>
                <a:gd name="connsiteY46" fmla="*/ 19085 h 402561"/>
                <a:gd name="connsiteX47" fmla="*/ 19572 w 264746"/>
                <a:gd name="connsiteY47" fmla="*/ 112811 h 402561"/>
                <a:gd name="connsiteX48" fmla="*/ 37575 w 264746"/>
                <a:gd name="connsiteY48" fmla="*/ 284451 h 402561"/>
                <a:gd name="connsiteX49" fmla="*/ 39289 w 264746"/>
                <a:gd name="connsiteY49" fmla="*/ 285023 h 402561"/>
                <a:gd name="connsiteX50" fmla="*/ 223122 w 264746"/>
                <a:gd name="connsiteY50" fmla="*/ 285118 h 402561"/>
                <a:gd name="connsiteX51" fmla="*/ 245696 w 264746"/>
                <a:gd name="connsiteY51" fmla="*/ 112906 h 402561"/>
                <a:gd name="connsiteX52" fmla="*/ 136063 w 264746"/>
                <a:gd name="connsiteY52" fmla="*/ 19085 h 402561"/>
                <a:gd name="connsiteX53" fmla="*/ 136825 w 264746"/>
                <a:gd name="connsiteY53" fmla="*/ 130 h 402561"/>
                <a:gd name="connsiteX54" fmla="*/ 264651 w 264746"/>
                <a:gd name="connsiteY54" fmla="*/ 110906 h 402561"/>
                <a:gd name="connsiteX55" fmla="*/ 264746 w 264746"/>
                <a:gd name="connsiteY55" fmla="*/ 112239 h 402561"/>
                <a:gd name="connsiteX56" fmla="*/ 190737 w 264746"/>
                <a:gd name="connsiteY56" fmla="*/ 371796 h 402561"/>
                <a:gd name="connsiteX57" fmla="*/ 190832 w 264746"/>
                <a:gd name="connsiteY57" fmla="*/ 372462 h 402561"/>
                <a:gd name="connsiteX58" fmla="*/ 190832 w 264746"/>
                <a:gd name="connsiteY58" fmla="*/ 383511 h 402561"/>
                <a:gd name="connsiteX59" fmla="*/ 247315 w 264746"/>
                <a:gd name="connsiteY59" fmla="*/ 383511 h 402561"/>
                <a:gd name="connsiteX60" fmla="*/ 256840 w 264746"/>
                <a:gd name="connsiteY60" fmla="*/ 393036 h 402561"/>
                <a:gd name="connsiteX61" fmla="*/ 247315 w 264746"/>
                <a:gd name="connsiteY61" fmla="*/ 402561 h 402561"/>
                <a:gd name="connsiteX62" fmla="*/ 15381 w 264746"/>
                <a:gd name="connsiteY62" fmla="*/ 402561 h 402561"/>
                <a:gd name="connsiteX63" fmla="*/ 5856 w 264746"/>
                <a:gd name="connsiteY63" fmla="*/ 393036 h 402561"/>
                <a:gd name="connsiteX64" fmla="*/ 15381 w 264746"/>
                <a:gd name="connsiteY64" fmla="*/ 383511 h 402561"/>
                <a:gd name="connsiteX65" fmla="*/ 70436 w 264746"/>
                <a:gd name="connsiteY65" fmla="*/ 383511 h 402561"/>
                <a:gd name="connsiteX66" fmla="*/ 70436 w 264746"/>
                <a:gd name="connsiteY66" fmla="*/ 372462 h 402561"/>
                <a:gd name="connsiteX67" fmla="*/ 70531 w 264746"/>
                <a:gd name="connsiteY67" fmla="*/ 371891 h 402561"/>
                <a:gd name="connsiteX68" fmla="*/ 54910 w 264746"/>
                <a:gd name="connsiteY68" fmla="*/ 361032 h 402561"/>
                <a:gd name="connsiteX69" fmla="*/ 522 w 264746"/>
                <a:gd name="connsiteY69" fmla="*/ 111191 h 402561"/>
                <a:gd name="connsiteX70" fmla="*/ 713 w 264746"/>
                <a:gd name="connsiteY70" fmla="*/ 109477 h 402561"/>
                <a:gd name="connsiteX71" fmla="*/ 136825 w 264746"/>
                <a:gd name="connsiteY71" fmla="*/ 130 h 40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64746" h="402561">
                  <a:moveTo>
                    <a:pt x="89486" y="373129"/>
                  </a:moveTo>
                  <a:lnTo>
                    <a:pt x="89486" y="383511"/>
                  </a:lnTo>
                  <a:lnTo>
                    <a:pt x="171782" y="383511"/>
                  </a:lnTo>
                  <a:lnTo>
                    <a:pt x="171782" y="373129"/>
                  </a:lnTo>
                  <a:close/>
                  <a:moveTo>
                    <a:pt x="45766" y="307978"/>
                  </a:moveTo>
                  <a:cubicBezTo>
                    <a:pt x="53767" y="327885"/>
                    <a:pt x="62054" y="341030"/>
                    <a:pt x="68626" y="347888"/>
                  </a:cubicBezTo>
                  <a:cubicBezTo>
                    <a:pt x="74436" y="353984"/>
                    <a:pt x="77484" y="354079"/>
                    <a:pt x="77484" y="354079"/>
                  </a:cubicBezTo>
                  <a:lnTo>
                    <a:pt x="184545" y="354079"/>
                  </a:lnTo>
                  <a:cubicBezTo>
                    <a:pt x="189498" y="351507"/>
                    <a:pt x="201976" y="338268"/>
                    <a:pt x="214359" y="309026"/>
                  </a:cubicBezTo>
                  <a:cubicBezTo>
                    <a:pt x="185022" y="319980"/>
                    <a:pt x="158352" y="325409"/>
                    <a:pt x="131586" y="325409"/>
                  </a:cubicBezTo>
                  <a:cubicBezTo>
                    <a:pt x="104059" y="325409"/>
                    <a:pt x="76437" y="319599"/>
                    <a:pt x="45766" y="307978"/>
                  </a:cubicBezTo>
                  <a:close/>
                  <a:moveTo>
                    <a:pt x="192547" y="230635"/>
                  </a:moveTo>
                  <a:cubicBezTo>
                    <a:pt x="197214" y="233016"/>
                    <a:pt x="199024" y="238826"/>
                    <a:pt x="196642" y="243493"/>
                  </a:cubicBezTo>
                  <a:lnTo>
                    <a:pt x="182831" y="270163"/>
                  </a:lnTo>
                  <a:cubicBezTo>
                    <a:pt x="181212" y="273402"/>
                    <a:pt x="177878" y="275307"/>
                    <a:pt x="174354" y="275307"/>
                  </a:cubicBezTo>
                  <a:cubicBezTo>
                    <a:pt x="172925" y="275307"/>
                    <a:pt x="171401" y="274926"/>
                    <a:pt x="169972" y="274259"/>
                  </a:cubicBezTo>
                  <a:cubicBezTo>
                    <a:pt x="165305" y="271878"/>
                    <a:pt x="163495" y="266068"/>
                    <a:pt x="165877" y="261400"/>
                  </a:cubicBezTo>
                  <a:lnTo>
                    <a:pt x="179688" y="234730"/>
                  </a:lnTo>
                  <a:cubicBezTo>
                    <a:pt x="182069" y="230063"/>
                    <a:pt x="187879" y="228253"/>
                    <a:pt x="192547" y="230635"/>
                  </a:cubicBezTo>
                  <a:close/>
                  <a:moveTo>
                    <a:pt x="68626" y="230635"/>
                  </a:moveTo>
                  <a:cubicBezTo>
                    <a:pt x="73294" y="228253"/>
                    <a:pt x="79009" y="230063"/>
                    <a:pt x="81485" y="234730"/>
                  </a:cubicBezTo>
                  <a:lnTo>
                    <a:pt x="95296" y="261400"/>
                  </a:lnTo>
                  <a:cubicBezTo>
                    <a:pt x="97678" y="266068"/>
                    <a:pt x="95868" y="271783"/>
                    <a:pt x="91201" y="274259"/>
                  </a:cubicBezTo>
                  <a:cubicBezTo>
                    <a:pt x="89772" y="274926"/>
                    <a:pt x="88343" y="275307"/>
                    <a:pt x="86819" y="275307"/>
                  </a:cubicBezTo>
                  <a:cubicBezTo>
                    <a:pt x="83390" y="275307"/>
                    <a:pt x="80056" y="273402"/>
                    <a:pt x="78342" y="270163"/>
                  </a:cubicBezTo>
                  <a:lnTo>
                    <a:pt x="64531" y="243493"/>
                  </a:lnTo>
                  <a:cubicBezTo>
                    <a:pt x="62149" y="238826"/>
                    <a:pt x="63959" y="233111"/>
                    <a:pt x="68626" y="230635"/>
                  </a:cubicBezTo>
                  <a:close/>
                  <a:moveTo>
                    <a:pt x="130730" y="82152"/>
                  </a:moveTo>
                  <a:cubicBezTo>
                    <a:pt x="109727" y="81998"/>
                    <a:pt x="89105" y="87094"/>
                    <a:pt x="77294" y="97476"/>
                  </a:cubicBezTo>
                  <a:cubicBezTo>
                    <a:pt x="70722" y="105858"/>
                    <a:pt x="63388" y="138052"/>
                    <a:pt x="75008" y="152911"/>
                  </a:cubicBezTo>
                  <a:cubicBezTo>
                    <a:pt x="95296" y="180153"/>
                    <a:pt x="130634" y="179962"/>
                    <a:pt x="131206" y="179867"/>
                  </a:cubicBezTo>
                  <a:cubicBezTo>
                    <a:pt x="132063" y="180057"/>
                    <a:pt x="167496" y="180248"/>
                    <a:pt x="187689" y="153102"/>
                  </a:cubicBezTo>
                  <a:cubicBezTo>
                    <a:pt x="193499" y="145577"/>
                    <a:pt x="195880" y="132051"/>
                    <a:pt x="193785" y="117764"/>
                  </a:cubicBezTo>
                  <a:cubicBezTo>
                    <a:pt x="192166" y="106620"/>
                    <a:pt x="188546" y="99857"/>
                    <a:pt x="186927" y="98714"/>
                  </a:cubicBezTo>
                  <a:cubicBezTo>
                    <a:pt x="186832" y="98619"/>
                    <a:pt x="186546" y="98428"/>
                    <a:pt x="186451" y="98333"/>
                  </a:cubicBezTo>
                  <a:cubicBezTo>
                    <a:pt x="173116" y="87713"/>
                    <a:pt x="151732" y="82307"/>
                    <a:pt x="130730" y="82152"/>
                  </a:cubicBezTo>
                  <a:close/>
                  <a:moveTo>
                    <a:pt x="129503" y="62757"/>
                  </a:moveTo>
                  <a:cubicBezTo>
                    <a:pt x="154875" y="62662"/>
                    <a:pt x="180783" y="69472"/>
                    <a:pt x="198166" y="83188"/>
                  </a:cubicBezTo>
                  <a:cubicBezTo>
                    <a:pt x="207977" y="90332"/>
                    <a:pt x="211501" y="107191"/>
                    <a:pt x="212549" y="114144"/>
                  </a:cubicBezTo>
                  <a:cubicBezTo>
                    <a:pt x="215597" y="133956"/>
                    <a:pt x="211978" y="152816"/>
                    <a:pt x="202834" y="164532"/>
                  </a:cubicBezTo>
                  <a:cubicBezTo>
                    <a:pt x="178259" y="197583"/>
                    <a:pt x="137968" y="198917"/>
                    <a:pt x="131872" y="198917"/>
                  </a:cubicBezTo>
                  <a:cubicBezTo>
                    <a:pt x="131206" y="198917"/>
                    <a:pt x="131301" y="198917"/>
                    <a:pt x="130539" y="198917"/>
                  </a:cubicBezTo>
                  <a:cubicBezTo>
                    <a:pt x="124919" y="198917"/>
                    <a:pt x="84533" y="197679"/>
                    <a:pt x="59863" y="164436"/>
                  </a:cubicBezTo>
                  <a:cubicBezTo>
                    <a:pt x="42052" y="141481"/>
                    <a:pt x="51481" y="98333"/>
                    <a:pt x="63197" y="84617"/>
                  </a:cubicBezTo>
                  <a:cubicBezTo>
                    <a:pt x="63483" y="84331"/>
                    <a:pt x="63769" y="84045"/>
                    <a:pt x="64054" y="83760"/>
                  </a:cubicBezTo>
                  <a:cubicBezTo>
                    <a:pt x="79294" y="69854"/>
                    <a:pt x="104131" y="62853"/>
                    <a:pt x="129503" y="62757"/>
                  </a:cubicBezTo>
                  <a:close/>
                  <a:moveTo>
                    <a:pt x="136063" y="19085"/>
                  </a:moveTo>
                  <a:cubicBezTo>
                    <a:pt x="90534" y="17180"/>
                    <a:pt x="36146" y="40897"/>
                    <a:pt x="19572" y="112811"/>
                  </a:cubicBezTo>
                  <a:cubicBezTo>
                    <a:pt x="16810" y="188535"/>
                    <a:pt x="25668" y="245208"/>
                    <a:pt x="37575" y="284451"/>
                  </a:cubicBezTo>
                  <a:cubicBezTo>
                    <a:pt x="38146" y="284642"/>
                    <a:pt x="38718" y="284832"/>
                    <a:pt x="39289" y="285023"/>
                  </a:cubicBezTo>
                  <a:cubicBezTo>
                    <a:pt x="107488" y="313503"/>
                    <a:pt x="155589" y="313503"/>
                    <a:pt x="223122" y="285118"/>
                  </a:cubicBezTo>
                  <a:cubicBezTo>
                    <a:pt x="235314" y="247399"/>
                    <a:pt x="245410" y="191868"/>
                    <a:pt x="245696" y="112906"/>
                  </a:cubicBezTo>
                  <a:cubicBezTo>
                    <a:pt x="236838" y="51279"/>
                    <a:pt x="182736" y="21085"/>
                    <a:pt x="136063" y="19085"/>
                  </a:cubicBezTo>
                  <a:close/>
                  <a:moveTo>
                    <a:pt x="136825" y="130"/>
                  </a:moveTo>
                  <a:cubicBezTo>
                    <a:pt x="191308" y="2321"/>
                    <a:pt x="254554" y="38039"/>
                    <a:pt x="264651" y="110906"/>
                  </a:cubicBezTo>
                  <a:cubicBezTo>
                    <a:pt x="264746" y="111382"/>
                    <a:pt x="264746" y="111858"/>
                    <a:pt x="264746" y="112239"/>
                  </a:cubicBezTo>
                  <a:cubicBezTo>
                    <a:pt x="264270" y="294453"/>
                    <a:pt x="212549" y="362080"/>
                    <a:pt x="190737" y="371796"/>
                  </a:cubicBezTo>
                  <a:cubicBezTo>
                    <a:pt x="190832" y="371986"/>
                    <a:pt x="190832" y="372272"/>
                    <a:pt x="190832" y="372462"/>
                  </a:cubicBezTo>
                  <a:lnTo>
                    <a:pt x="190832" y="383511"/>
                  </a:lnTo>
                  <a:lnTo>
                    <a:pt x="247315" y="383511"/>
                  </a:lnTo>
                  <a:cubicBezTo>
                    <a:pt x="252554" y="383511"/>
                    <a:pt x="256840" y="387798"/>
                    <a:pt x="256840" y="393036"/>
                  </a:cubicBezTo>
                  <a:cubicBezTo>
                    <a:pt x="256840" y="398275"/>
                    <a:pt x="252554" y="402561"/>
                    <a:pt x="247315" y="402561"/>
                  </a:cubicBezTo>
                  <a:lnTo>
                    <a:pt x="15381" y="402561"/>
                  </a:lnTo>
                  <a:cubicBezTo>
                    <a:pt x="10143" y="402561"/>
                    <a:pt x="5856" y="398275"/>
                    <a:pt x="5856" y="393036"/>
                  </a:cubicBezTo>
                  <a:cubicBezTo>
                    <a:pt x="5856" y="387798"/>
                    <a:pt x="10143" y="383511"/>
                    <a:pt x="15381" y="383511"/>
                  </a:cubicBezTo>
                  <a:lnTo>
                    <a:pt x="70436" y="383511"/>
                  </a:lnTo>
                  <a:lnTo>
                    <a:pt x="70436" y="372462"/>
                  </a:lnTo>
                  <a:cubicBezTo>
                    <a:pt x="70436" y="372272"/>
                    <a:pt x="70436" y="372081"/>
                    <a:pt x="70531" y="371891"/>
                  </a:cubicBezTo>
                  <a:cubicBezTo>
                    <a:pt x="65388" y="370176"/>
                    <a:pt x="60149" y="366557"/>
                    <a:pt x="54910" y="361032"/>
                  </a:cubicBezTo>
                  <a:cubicBezTo>
                    <a:pt x="24335" y="329409"/>
                    <a:pt x="-4240" y="239874"/>
                    <a:pt x="522" y="111191"/>
                  </a:cubicBezTo>
                  <a:cubicBezTo>
                    <a:pt x="522" y="110620"/>
                    <a:pt x="618" y="110048"/>
                    <a:pt x="713" y="109477"/>
                  </a:cubicBezTo>
                  <a:cubicBezTo>
                    <a:pt x="19668" y="25371"/>
                    <a:pt x="85866" y="-2156"/>
                    <a:pt x="136825" y="13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DB Sans"/>
                <a:ea typeface="+mn-ea"/>
                <a:cs typeface="+mn-cs"/>
              </a:endParaRPr>
            </a:p>
          </p:txBody>
        </p:sp>
      </p:grpSp>
      <p:sp>
        <p:nvSpPr>
          <p:cNvPr id="42" name="AutoShape 26">
            <a:extLst>
              <a:ext uri="{FF2B5EF4-FFF2-40B4-BE49-F238E27FC236}">
                <a16:creationId xmlns:a16="http://schemas.microsoft.com/office/drawing/2014/main" id="{93BE6E3C-51B8-40D6-8218-8445766AA3E9}"/>
              </a:ext>
            </a:extLst>
          </p:cNvPr>
          <p:cNvSpPr>
            <a:spLocks noChangeArrowheads="1"/>
          </p:cNvSpPr>
          <p:nvPr/>
        </p:nvSpPr>
        <p:spPr bwMode="auto">
          <a:xfrm>
            <a:off x="10128954" y="1216066"/>
            <a:ext cx="1691571" cy="1368146"/>
          </a:xfrm>
          <a:prstGeom prst="rect">
            <a:avLst/>
          </a:prstGeom>
          <a:solidFill>
            <a:srgbClr val="EFF2F2"/>
          </a:solidFill>
          <a:ln w="12700" algn="ctr">
            <a:noFill/>
            <a:round/>
            <a:headEnd/>
            <a:tailEnd/>
          </a:ln>
          <a:effectLst/>
        </p:spPr>
        <p:txBody>
          <a:bodyPr lIns="108000" tIns="108000" rIns="108000" bIns="108000" anchor="b"/>
          <a:lstStyle/>
          <a:p>
            <a:pPr marL="0" marR="0" lvl="0" indent="0" algn="ctr" defTabSz="914400" rtl="0" eaLnBrk="1" fontAlgn="auto" latinLnBrk="0" hangingPunct="1">
              <a:lnSpc>
                <a:spcPct val="100000"/>
              </a:lnSpc>
              <a:spcBef>
                <a:spcPct val="25000"/>
              </a:spcBef>
              <a:spcAft>
                <a:spcPts val="0"/>
              </a:spcAft>
              <a:buClrTx/>
              <a:buSzTx/>
              <a:buFontTx/>
              <a:buNone/>
              <a:tabLst/>
              <a:defRPr/>
            </a:pPr>
            <a:r>
              <a:rPr kumimoji="0" lang="de-DE" sz="1400" b="0" i="0" u="none" strike="noStrike" kern="1200" cap="none" spc="0" normalizeH="0" baseline="0" noProof="0" err="1">
                <a:ln>
                  <a:noFill/>
                </a:ln>
                <a:solidFill>
                  <a:srgbClr val="000000"/>
                </a:solidFill>
                <a:effectLst/>
                <a:uLnTx/>
                <a:uFillTx/>
                <a:latin typeface="DB Sans"/>
                <a:ea typeface="+mn-ea"/>
                <a:cs typeface="+mn-cs"/>
              </a:rPr>
              <a:t>Unusual</a:t>
            </a:r>
            <a:r>
              <a:rPr kumimoji="0" lang="de-DE" sz="1400" b="0" i="0" u="none" strike="noStrike" kern="1200" cap="none" spc="0" normalizeH="0" baseline="0" noProof="0">
                <a:ln>
                  <a:noFill/>
                </a:ln>
                <a:solidFill>
                  <a:srgbClr val="000000"/>
                </a:solidFill>
                <a:effectLst/>
                <a:uLnTx/>
                <a:uFillTx/>
                <a:latin typeface="DB Sans"/>
                <a:ea typeface="+mn-ea"/>
                <a:cs typeface="+mn-cs"/>
              </a:rPr>
              <a:t> </a:t>
            </a:r>
            <a:r>
              <a:rPr kumimoji="0" lang="de-DE" sz="1400" b="0" i="0" u="none" strike="noStrike" kern="1200" cap="none" spc="0" normalizeH="0" baseline="0" noProof="0" err="1">
                <a:ln>
                  <a:noFill/>
                </a:ln>
                <a:solidFill>
                  <a:srgbClr val="000000"/>
                </a:solidFill>
                <a:effectLst/>
                <a:uLnTx/>
                <a:uFillTx/>
                <a:latin typeface="DB Sans"/>
                <a:ea typeface="+mn-ea"/>
                <a:cs typeface="+mn-cs"/>
              </a:rPr>
              <a:t>techniques</a:t>
            </a:r>
            <a:endParaRPr kumimoji="0" lang="de-DE" sz="1400" b="0" i="0" u="none" strike="noStrike" kern="1200" cap="none" spc="0" normalizeH="0" baseline="0" noProof="0">
              <a:ln>
                <a:noFill/>
              </a:ln>
              <a:solidFill>
                <a:srgbClr val="000000"/>
              </a:solidFill>
              <a:effectLst/>
              <a:uLnTx/>
              <a:uFillTx/>
              <a:latin typeface="DB Sans"/>
              <a:ea typeface="+mn-ea"/>
              <a:cs typeface="+mn-cs"/>
            </a:endParaRPr>
          </a:p>
        </p:txBody>
      </p:sp>
      <p:grpSp>
        <p:nvGrpSpPr>
          <p:cNvPr id="43" name="easyIcon">
            <a:extLst>
              <a:ext uri="{FF2B5EF4-FFF2-40B4-BE49-F238E27FC236}">
                <a16:creationId xmlns:a16="http://schemas.microsoft.com/office/drawing/2014/main" id="{9887E4B6-188A-4CFA-A910-7DBBC2785A64}"/>
              </a:ext>
            </a:extLst>
          </p:cNvPr>
          <p:cNvGrpSpPr>
            <a:grpSpLocks noChangeAspect="1"/>
          </p:cNvGrpSpPr>
          <p:nvPr>
            <p:custDataLst>
              <p:tags r:id="rId8"/>
            </p:custDataLst>
          </p:nvPr>
        </p:nvGrpSpPr>
        <p:grpSpPr>
          <a:xfrm>
            <a:off x="4934456" y="1312950"/>
            <a:ext cx="540000" cy="540000"/>
            <a:chOff x="2992544" y="2211256"/>
            <a:chExt cx="446281" cy="446281"/>
          </a:xfrm>
        </p:grpSpPr>
        <p:sp>
          <p:nvSpPr>
            <p:cNvPr id="44" name="Background">
              <a:extLst>
                <a:ext uri="{FF2B5EF4-FFF2-40B4-BE49-F238E27FC236}">
                  <a16:creationId xmlns:a16="http://schemas.microsoft.com/office/drawing/2014/main" id="{441037F0-6554-4129-B0D2-A8865CFB59D0}"/>
                </a:ext>
              </a:extLst>
            </p:cNvPr>
            <p:cNvSpPr/>
            <p:nvPr/>
          </p:nvSpPr>
          <p:spPr>
            <a:xfrm>
              <a:off x="2992544" y="2211256"/>
              <a:ext cx="446281" cy="446281"/>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45" name="Vector">
              <a:extLst>
                <a:ext uri="{FF2B5EF4-FFF2-40B4-BE49-F238E27FC236}">
                  <a16:creationId xmlns:a16="http://schemas.microsoft.com/office/drawing/2014/main" id="{1F38D804-D53D-4B4A-A510-8F648CEC1ABA}"/>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001371" y="2220083"/>
              <a:ext cx="428625" cy="428625"/>
            </a:xfrm>
            <a:prstGeom prst="rect">
              <a:avLst/>
            </a:prstGeom>
          </p:spPr>
        </p:pic>
      </p:grpSp>
      <p:grpSp>
        <p:nvGrpSpPr>
          <p:cNvPr id="46" name="easyIcon">
            <a:extLst>
              <a:ext uri="{FF2B5EF4-FFF2-40B4-BE49-F238E27FC236}">
                <a16:creationId xmlns:a16="http://schemas.microsoft.com/office/drawing/2014/main" id="{6CB68014-32C9-46FC-A79D-A421B12AFA21}"/>
              </a:ext>
            </a:extLst>
          </p:cNvPr>
          <p:cNvGrpSpPr>
            <a:grpSpLocks noChangeAspect="1"/>
          </p:cNvGrpSpPr>
          <p:nvPr>
            <p:custDataLst>
              <p:tags r:id="rId9"/>
            </p:custDataLst>
          </p:nvPr>
        </p:nvGrpSpPr>
        <p:grpSpPr>
          <a:xfrm>
            <a:off x="10606038" y="1326290"/>
            <a:ext cx="648000" cy="648000"/>
            <a:chOff x="2992545" y="3318374"/>
            <a:chExt cx="446281" cy="446281"/>
          </a:xfrm>
        </p:grpSpPr>
        <p:sp>
          <p:nvSpPr>
            <p:cNvPr id="47" name="Background">
              <a:extLst>
                <a:ext uri="{FF2B5EF4-FFF2-40B4-BE49-F238E27FC236}">
                  <a16:creationId xmlns:a16="http://schemas.microsoft.com/office/drawing/2014/main" id="{F2CB72E3-B0F5-469A-8E52-871A08375BC1}"/>
                </a:ext>
              </a:extLst>
            </p:cNvPr>
            <p:cNvSpPr/>
            <p:nvPr/>
          </p:nvSpPr>
          <p:spPr>
            <a:xfrm>
              <a:off x="2992545" y="3318374"/>
              <a:ext cx="446281" cy="446281"/>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48" name="Vector">
              <a:extLst>
                <a:ext uri="{FF2B5EF4-FFF2-40B4-BE49-F238E27FC236}">
                  <a16:creationId xmlns:a16="http://schemas.microsoft.com/office/drawing/2014/main" id="{728AB3C3-7182-4EAE-9D2F-BEFF4D12F705}"/>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001372" y="3327202"/>
              <a:ext cx="428625" cy="428625"/>
            </a:xfrm>
            <a:prstGeom prst="rect">
              <a:avLst/>
            </a:prstGeom>
          </p:spPr>
        </p:pic>
      </p:grpSp>
      <p:sp>
        <p:nvSpPr>
          <p:cNvPr id="49" name="Freihandform: Form 25">
            <a:extLst>
              <a:ext uri="{FF2B5EF4-FFF2-40B4-BE49-F238E27FC236}">
                <a16:creationId xmlns:a16="http://schemas.microsoft.com/office/drawing/2014/main" id="{45618822-215C-4DDE-B254-3A689A1BE6A9}"/>
              </a:ext>
            </a:extLst>
          </p:cNvPr>
          <p:cNvSpPr>
            <a:spLocks noChangeAspect="1"/>
          </p:cNvSpPr>
          <p:nvPr>
            <p:custDataLst>
              <p:tags r:id="rId10"/>
            </p:custDataLst>
          </p:nvPr>
        </p:nvSpPr>
        <p:spPr bwMode="auto">
          <a:xfrm>
            <a:off x="10707556" y="2811857"/>
            <a:ext cx="499191" cy="141520"/>
          </a:xfrm>
          <a:custGeom>
            <a:avLst/>
            <a:gdLst>
              <a:gd name="connsiteX0" fmla="*/ 14218 w 678388"/>
              <a:gd name="connsiteY0" fmla="*/ 1307 h 192323"/>
              <a:gd name="connsiteX1" fmla="*/ 30733 w 678388"/>
              <a:gd name="connsiteY1" fmla="*/ 2028 h 192323"/>
              <a:gd name="connsiteX2" fmla="*/ 340840 w 678388"/>
              <a:gd name="connsiteY2" fmla="*/ 146634 h 192323"/>
              <a:gd name="connsiteX3" fmla="*/ 647654 w 678388"/>
              <a:gd name="connsiteY3" fmla="*/ 3563 h 192323"/>
              <a:gd name="connsiteX4" fmla="*/ 676359 w 678388"/>
              <a:gd name="connsiteY4" fmla="*/ 14011 h 192323"/>
              <a:gd name="connsiteX5" fmla="*/ 665913 w 678388"/>
              <a:gd name="connsiteY5" fmla="*/ 42715 h 192323"/>
              <a:gd name="connsiteX6" fmla="*/ 349429 w 678388"/>
              <a:gd name="connsiteY6" fmla="*/ 190294 h 192323"/>
              <a:gd name="connsiteX7" fmla="*/ 332913 w 678388"/>
              <a:gd name="connsiteY7" fmla="*/ 191016 h 192323"/>
              <a:gd name="connsiteX8" fmla="*/ 330526 w 678388"/>
              <a:gd name="connsiteY8" fmla="*/ 188828 h 192323"/>
              <a:gd name="connsiteX9" fmla="*/ 328959 w 678388"/>
              <a:gd name="connsiteY9" fmla="*/ 188759 h 192323"/>
              <a:gd name="connsiteX10" fmla="*/ 12476 w 678388"/>
              <a:gd name="connsiteY10" fmla="*/ 41181 h 192323"/>
              <a:gd name="connsiteX11" fmla="*/ 2028 w 678388"/>
              <a:gd name="connsiteY11" fmla="*/ 12476 h 192323"/>
              <a:gd name="connsiteX12" fmla="*/ 14218 w 678388"/>
              <a:gd name="connsiteY12" fmla="*/ 1307 h 19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388" h="192323">
                <a:moveTo>
                  <a:pt x="14218" y="1307"/>
                </a:moveTo>
                <a:cubicBezTo>
                  <a:pt x="19412" y="-583"/>
                  <a:pt x="25328" y="-492"/>
                  <a:pt x="30733" y="2028"/>
                </a:cubicBezTo>
                <a:lnTo>
                  <a:pt x="340840" y="146634"/>
                </a:lnTo>
                <a:lnTo>
                  <a:pt x="647654" y="3563"/>
                </a:lnTo>
                <a:cubicBezTo>
                  <a:pt x="658466" y="-1479"/>
                  <a:pt x="671318" y="3200"/>
                  <a:pt x="676359" y="14011"/>
                </a:cubicBezTo>
                <a:cubicBezTo>
                  <a:pt x="681401" y="24822"/>
                  <a:pt x="676723" y="37674"/>
                  <a:pt x="665913" y="42715"/>
                </a:cubicBezTo>
                <a:lnTo>
                  <a:pt x="349429" y="190294"/>
                </a:lnTo>
                <a:cubicBezTo>
                  <a:pt x="344024" y="192815"/>
                  <a:pt x="338107" y="192906"/>
                  <a:pt x="332913" y="191016"/>
                </a:cubicBezTo>
                <a:lnTo>
                  <a:pt x="330526" y="188828"/>
                </a:lnTo>
                <a:lnTo>
                  <a:pt x="328959" y="188759"/>
                </a:lnTo>
                <a:lnTo>
                  <a:pt x="12476" y="41181"/>
                </a:lnTo>
                <a:cubicBezTo>
                  <a:pt x="1665" y="36139"/>
                  <a:pt x="-3013" y="23287"/>
                  <a:pt x="2028" y="12476"/>
                </a:cubicBezTo>
                <a:cubicBezTo>
                  <a:pt x="4549" y="7071"/>
                  <a:pt x="9022" y="3198"/>
                  <a:pt x="14218" y="130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50" name="Textfeld 49">
            <a:extLst>
              <a:ext uri="{FF2B5EF4-FFF2-40B4-BE49-F238E27FC236}">
                <a16:creationId xmlns:a16="http://schemas.microsoft.com/office/drawing/2014/main" id="{A62FB456-B6F6-4BCA-84DB-A9DBC9FD0B18}"/>
              </a:ext>
            </a:extLst>
          </p:cNvPr>
          <p:cNvSpPr txBox="1"/>
          <p:nvPr/>
        </p:nvSpPr>
        <p:spPr>
          <a:xfrm>
            <a:off x="2362732" y="3197092"/>
            <a:ext cx="1816441" cy="2993127"/>
          </a:xfrm>
          <a:prstGeom prst="rect">
            <a:avLst/>
          </a:prstGeom>
          <a:noFill/>
        </p:spPr>
        <p:txBody>
          <a:bodyPr wrap="square" lIns="0" tIns="0" rIns="0" bIns="0" rtlCol="0">
            <a:spAutoFit/>
          </a:bodyPr>
          <a:lstStyle/>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Self-test on track characteristics</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Short journey concept</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Scanning available view and checking other trains</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Energy-conscious driving</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Announcements to passengers</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Risk Triggered Commentary (RTC)</a:t>
            </a:r>
            <a:endParaRPr kumimoji="0" lang="de-DE" sz="1400" b="0" i="0" u="none" strike="noStrike" kern="1200" cap="none" spc="0" normalizeH="0" baseline="0" noProof="0">
              <a:ln>
                <a:noFill/>
              </a:ln>
              <a:solidFill>
                <a:prstClr val="black"/>
              </a:solidFill>
              <a:effectLst/>
              <a:uLnTx/>
              <a:uFillTx/>
              <a:latin typeface="DB Sans"/>
              <a:ea typeface="+mn-ea"/>
              <a:cs typeface="+mn-cs"/>
            </a:endParaRPr>
          </a:p>
        </p:txBody>
      </p:sp>
      <p:sp>
        <p:nvSpPr>
          <p:cNvPr id="51" name="Textfeld 50">
            <a:extLst>
              <a:ext uri="{FF2B5EF4-FFF2-40B4-BE49-F238E27FC236}">
                <a16:creationId xmlns:a16="http://schemas.microsoft.com/office/drawing/2014/main" id="{A6DDE117-1473-47B0-A4D8-998BE819E714}"/>
              </a:ext>
            </a:extLst>
          </p:cNvPr>
          <p:cNvSpPr txBox="1"/>
          <p:nvPr/>
        </p:nvSpPr>
        <p:spPr>
          <a:xfrm>
            <a:off x="4389920" y="3196890"/>
            <a:ext cx="1724571" cy="1585049"/>
          </a:xfrm>
          <a:prstGeom prst="rect">
            <a:avLst/>
          </a:prstGeom>
          <a:noFill/>
        </p:spPr>
        <p:txBody>
          <a:bodyPr wrap="square" lIns="0" tIns="0" rIns="0" bIns="0" rtlCol="0">
            <a:spAutoFit/>
          </a:bodyPr>
          <a:lstStyle>
            <a:defPPr>
              <a:defRPr lang="de-DE"/>
            </a:defPPr>
            <a:lvl1pPr marL="179388" indent="-179388" algn="l">
              <a:spcAft>
                <a:spcPts val="300"/>
              </a:spcAft>
              <a:buClr>
                <a:srgbClr val="8CB90F"/>
              </a:buClr>
              <a:buSzPct val="130000"/>
              <a:buFont typeface="Arial" panose="020B0604020202020204" pitchFamily="34" charset="0"/>
              <a:buChar char="•"/>
              <a:defRPr sz="1400"/>
            </a:lvl1pPr>
          </a:lstStyle>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Use none driving situations for movement</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Standing up whilst driving</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Changing seat positions</a:t>
            </a:r>
            <a:endParaRPr kumimoji="0" lang="de-DE" sz="1400" b="0" i="0" u="none" strike="noStrike" kern="1200" cap="none" spc="0" normalizeH="0" baseline="0" noProof="0">
              <a:ln>
                <a:noFill/>
              </a:ln>
              <a:solidFill>
                <a:prstClr val="black"/>
              </a:solidFill>
              <a:effectLst/>
              <a:uLnTx/>
              <a:uFillTx/>
              <a:latin typeface="DB Sans"/>
              <a:ea typeface="+mn-ea"/>
              <a:cs typeface="+mn-cs"/>
            </a:endParaRPr>
          </a:p>
        </p:txBody>
      </p:sp>
      <p:sp>
        <p:nvSpPr>
          <p:cNvPr id="52" name="Textfeld 51">
            <a:extLst>
              <a:ext uri="{FF2B5EF4-FFF2-40B4-BE49-F238E27FC236}">
                <a16:creationId xmlns:a16="http://schemas.microsoft.com/office/drawing/2014/main" id="{E903B0DC-D0FD-4BB5-A42C-CB8FD874B03E}"/>
              </a:ext>
            </a:extLst>
          </p:cNvPr>
          <p:cNvSpPr txBox="1"/>
          <p:nvPr/>
        </p:nvSpPr>
        <p:spPr>
          <a:xfrm>
            <a:off x="8211902" y="3196246"/>
            <a:ext cx="1691572" cy="684803"/>
          </a:xfrm>
          <a:prstGeom prst="rect">
            <a:avLst/>
          </a:prstGeom>
          <a:noFill/>
        </p:spPr>
        <p:txBody>
          <a:bodyPr wrap="square" lIns="0" tIns="0" rIns="0" bIns="0" rtlCol="0">
            <a:spAutoFit/>
          </a:bodyPr>
          <a:lstStyle>
            <a:defPPr>
              <a:defRPr lang="de-DE"/>
            </a:defPPr>
            <a:lvl1pPr marL="179388" indent="-179388" algn="l">
              <a:spcAft>
                <a:spcPts val="300"/>
              </a:spcAft>
              <a:buClr>
                <a:srgbClr val="8CB90F"/>
              </a:buClr>
              <a:buSzPct val="130000"/>
              <a:buFont typeface="Arial" panose="020B0604020202020204" pitchFamily="34" charset="0"/>
              <a:buChar char="•"/>
              <a:defRPr sz="1400"/>
            </a:lvl1pPr>
          </a:lstStyle>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de-DE" sz="1400" b="0" i="0" u="none" strike="noStrike" kern="1200" cap="none" spc="0" normalizeH="0" baseline="0" noProof="0" err="1">
                <a:ln>
                  <a:noFill/>
                </a:ln>
                <a:solidFill>
                  <a:prstClr val="black"/>
                </a:solidFill>
                <a:effectLst/>
                <a:uLnTx/>
                <a:uFillTx/>
                <a:latin typeface="DB Sans"/>
                <a:ea typeface="+mn-ea"/>
                <a:cs typeface="+mn-cs"/>
              </a:rPr>
              <a:t>Adjust</a:t>
            </a:r>
            <a:r>
              <a:rPr kumimoji="0" lang="de-DE" sz="1400" b="0" i="0" u="none" strike="noStrike" kern="1200" cap="none" spc="0" normalizeH="0" baseline="0" noProof="0">
                <a:ln>
                  <a:noFill/>
                </a:ln>
                <a:solidFill>
                  <a:prstClr val="black"/>
                </a:solidFill>
                <a:effectLst/>
                <a:uLnTx/>
                <a:uFillTx/>
                <a:latin typeface="DB Sans"/>
                <a:ea typeface="+mn-ea"/>
                <a:cs typeface="+mn-cs"/>
              </a:rPr>
              <a:t> </a:t>
            </a:r>
            <a:r>
              <a:rPr kumimoji="0" lang="de-DE" sz="1400" b="0" i="0" u="none" strike="noStrike" kern="1200" cap="none" spc="0" normalizeH="0" baseline="0" noProof="0" err="1">
                <a:ln>
                  <a:noFill/>
                </a:ln>
                <a:solidFill>
                  <a:prstClr val="black"/>
                </a:solidFill>
                <a:effectLst/>
                <a:uLnTx/>
                <a:uFillTx/>
                <a:latin typeface="DB Sans"/>
                <a:ea typeface="+mn-ea"/>
                <a:cs typeface="+mn-cs"/>
              </a:rPr>
              <a:t>temperature</a:t>
            </a:r>
            <a:endParaRPr kumimoji="0" lang="de-DE" sz="1400" b="0" i="0" u="none" strike="noStrike" kern="1200" cap="none" spc="0" normalizeH="0" baseline="0" noProof="0">
              <a:ln>
                <a:noFill/>
              </a:ln>
              <a:solidFill>
                <a:prstClr val="black"/>
              </a:solidFill>
              <a:effectLst/>
              <a:uLnTx/>
              <a:uFillTx/>
              <a:latin typeface="DB Sans"/>
              <a:ea typeface="+mn-ea"/>
              <a:cs typeface="+mn-cs"/>
            </a:endParaRP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de-DE" sz="1400" b="0" i="0" u="none" strike="noStrike" kern="1200" cap="none" spc="0" normalizeH="0" baseline="0" noProof="0">
                <a:ln>
                  <a:noFill/>
                </a:ln>
                <a:solidFill>
                  <a:prstClr val="black"/>
                </a:solidFill>
                <a:effectLst/>
                <a:uLnTx/>
                <a:uFillTx/>
                <a:latin typeface="DB Sans"/>
                <a:ea typeface="+mn-ea"/>
                <a:cs typeface="+mn-cs"/>
              </a:rPr>
              <a:t>Open </a:t>
            </a:r>
            <a:r>
              <a:rPr kumimoji="0" lang="de-DE" sz="1400" b="0" i="0" u="none" strike="noStrike" kern="1200" cap="none" spc="0" normalizeH="0" baseline="0" noProof="0" err="1">
                <a:ln>
                  <a:noFill/>
                </a:ln>
                <a:solidFill>
                  <a:prstClr val="black"/>
                </a:solidFill>
                <a:effectLst/>
                <a:uLnTx/>
                <a:uFillTx/>
                <a:latin typeface="DB Sans"/>
                <a:ea typeface="+mn-ea"/>
                <a:cs typeface="+mn-cs"/>
              </a:rPr>
              <a:t>window</a:t>
            </a:r>
            <a:endParaRPr kumimoji="0" lang="de-DE" sz="1400" b="0" i="0" u="none" strike="noStrike" kern="1200" cap="none" spc="0" normalizeH="0" baseline="0" noProof="0">
              <a:ln>
                <a:noFill/>
              </a:ln>
              <a:solidFill>
                <a:prstClr val="black"/>
              </a:solidFill>
              <a:effectLst/>
              <a:uLnTx/>
              <a:uFillTx/>
              <a:latin typeface="DB Sans"/>
              <a:ea typeface="+mn-ea"/>
              <a:cs typeface="+mn-cs"/>
            </a:endParaRPr>
          </a:p>
        </p:txBody>
      </p:sp>
      <p:sp>
        <p:nvSpPr>
          <p:cNvPr id="53" name="Textfeld 52">
            <a:extLst>
              <a:ext uri="{FF2B5EF4-FFF2-40B4-BE49-F238E27FC236}">
                <a16:creationId xmlns:a16="http://schemas.microsoft.com/office/drawing/2014/main" id="{1AE34369-9298-41DF-A7E9-25CEA92C537C}"/>
              </a:ext>
            </a:extLst>
          </p:cNvPr>
          <p:cNvSpPr txBox="1"/>
          <p:nvPr/>
        </p:nvSpPr>
        <p:spPr>
          <a:xfrm>
            <a:off x="6325238" y="3196890"/>
            <a:ext cx="1675917" cy="1408078"/>
          </a:xfrm>
          <a:prstGeom prst="rect">
            <a:avLst/>
          </a:prstGeom>
          <a:noFill/>
        </p:spPr>
        <p:txBody>
          <a:bodyPr wrap="square" lIns="0" tIns="0" rIns="0" bIns="0" rtlCol="0">
            <a:spAutoFit/>
          </a:bodyPr>
          <a:lstStyle>
            <a:defPPr>
              <a:defRPr lang="de-DE"/>
            </a:defPPr>
            <a:lvl1pPr marL="179388" indent="-179388" algn="l">
              <a:spcAft>
                <a:spcPts val="300"/>
              </a:spcAft>
              <a:buClr>
                <a:srgbClr val="8CB90F"/>
              </a:buClr>
              <a:buSzPct val="130000"/>
              <a:buFont typeface="Arial" panose="020B0604020202020204" pitchFamily="34" charset="0"/>
              <a:buChar char="•"/>
              <a:defRPr sz="1400"/>
            </a:lvl1pPr>
          </a:lstStyle>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Caffeinated drinks</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Chewing gum</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Drink enough water</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Eat small meals</a:t>
            </a:r>
            <a:endParaRPr kumimoji="0" lang="de-DE" sz="1400" b="0" i="0" u="none" strike="noStrike" kern="1200" cap="none" spc="0" normalizeH="0" baseline="0" noProof="0">
              <a:ln>
                <a:noFill/>
              </a:ln>
              <a:solidFill>
                <a:prstClr val="black"/>
              </a:solidFill>
              <a:effectLst/>
              <a:uLnTx/>
              <a:uFillTx/>
              <a:latin typeface="DB Sans"/>
              <a:ea typeface="+mn-ea"/>
              <a:cs typeface="+mn-cs"/>
            </a:endParaRPr>
          </a:p>
        </p:txBody>
      </p:sp>
      <p:sp>
        <p:nvSpPr>
          <p:cNvPr id="54" name="Textfeld 53">
            <a:extLst>
              <a:ext uri="{FF2B5EF4-FFF2-40B4-BE49-F238E27FC236}">
                <a16:creationId xmlns:a16="http://schemas.microsoft.com/office/drawing/2014/main" id="{A2F95751-9CA2-4ADC-8820-F657FE94CEB8}"/>
              </a:ext>
            </a:extLst>
          </p:cNvPr>
          <p:cNvSpPr txBox="1"/>
          <p:nvPr/>
        </p:nvSpPr>
        <p:spPr>
          <a:xfrm>
            <a:off x="10114221" y="3196245"/>
            <a:ext cx="1691572" cy="2092881"/>
          </a:xfrm>
          <a:prstGeom prst="rect">
            <a:avLst/>
          </a:prstGeom>
          <a:noFill/>
        </p:spPr>
        <p:txBody>
          <a:bodyPr wrap="square" lIns="0" tIns="0" rIns="0" bIns="0" rtlCol="0">
            <a:spAutoFit/>
          </a:bodyPr>
          <a:lstStyle>
            <a:defPPr>
              <a:defRPr lang="de-DE"/>
            </a:defPPr>
            <a:lvl1pPr marL="179388" indent="-179388" algn="l">
              <a:spcAft>
                <a:spcPts val="300"/>
              </a:spcAft>
              <a:buClr>
                <a:srgbClr val="8CB90F"/>
              </a:buClr>
              <a:buSzPct val="130000"/>
              <a:buFont typeface="Arial" panose="020B0604020202020204" pitchFamily="34" charset="0"/>
              <a:buChar char="•"/>
              <a:defRPr sz="1400"/>
            </a:lvl1pPr>
          </a:lstStyle>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Speaking aloud in different voices</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Talking to yourself/ singing</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Rubber band on the wrist</a:t>
            </a: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DB Sans"/>
                <a:ea typeface="+mn-ea"/>
                <a:cs typeface="+mn-cs"/>
              </a:rPr>
              <a:t>Cooling down with water</a:t>
            </a:r>
            <a:endParaRPr kumimoji="0" lang="de-DE" sz="1400" b="0" i="0" u="none" strike="noStrike" kern="1200" cap="none" spc="0" normalizeH="0" baseline="0" noProof="0">
              <a:ln>
                <a:noFill/>
              </a:ln>
              <a:solidFill>
                <a:prstClr val="black"/>
              </a:solidFill>
              <a:effectLst/>
              <a:uLnTx/>
              <a:uFillTx/>
              <a:latin typeface="DB Sans"/>
              <a:ea typeface="+mn-ea"/>
              <a:cs typeface="+mn-cs"/>
            </a:endParaRPr>
          </a:p>
          <a:p>
            <a:pPr marL="179388" marR="0" lvl="0" indent="-179388" algn="l" defTabSz="914400" rtl="0" eaLnBrk="1" fontAlgn="auto" latinLnBrk="0" hangingPunct="1">
              <a:lnSpc>
                <a:spcPct val="100000"/>
              </a:lnSpc>
              <a:spcBef>
                <a:spcPts val="0"/>
              </a:spcBef>
              <a:spcAft>
                <a:spcPts val="300"/>
              </a:spcAft>
              <a:buClr>
                <a:srgbClr val="EC0016"/>
              </a:buClr>
              <a:buSzPct val="130000"/>
              <a:buFont typeface="Arial" panose="020B0604020202020204" pitchFamily="34" charset="0"/>
              <a:buChar char="•"/>
              <a:tabLst/>
              <a:defRPr/>
            </a:pPr>
            <a:endParaRPr kumimoji="0" lang="de-DE" sz="1400" b="0" i="0" u="none" strike="noStrike" kern="1200" cap="none" spc="0" normalizeH="0" baseline="0" noProof="0">
              <a:ln>
                <a:noFill/>
              </a:ln>
              <a:solidFill>
                <a:prstClr val="black"/>
              </a:solidFill>
              <a:effectLst/>
              <a:uLnTx/>
              <a:uFillTx/>
              <a:latin typeface="DB Sans"/>
              <a:ea typeface="+mn-ea"/>
              <a:cs typeface="+mn-cs"/>
            </a:endParaRPr>
          </a:p>
        </p:txBody>
      </p:sp>
      <p:sp>
        <p:nvSpPr>
          <p:cNvPr id="55" name="Freeform 8">
            <a:extLst>
              <a:ext uri="{FF2B5EF4-FFF2-40B4-BE49-F238E27FC236}">
                <a16:creationId xmlns:a16="http://schemas.microsoft.com/office/drawing/2014/main" id="{D2549DB7-C6AE-496D-A368-B957A13568BC}"/>
              </a:ext>
            </a:extLst>
          </p:cNvPr>
          <p:cNvSpPr>
            <a:spLocks noChangeAspect="1" noEditPoints="1"/>
          </p:cNvSpPr>
          <p:nvPr/>
        </p:nvSpPr>
        <p:spPr bwMode="gray">
          <a:xfrm rot="728255" flipV="1">
            <a:off x="1280909" y="2734522"/>
            <a:ext cx="1060853" cy="312260"/>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rgbClr val="EC0016"/>
          </a:solidFill>
          <a:ln>
            <a:noFill/>
          </a:ln>
          <a:effec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FFFFFF"/>
              </a:solidFill>
              <a:effectLst/>
              <a:uLnTx/>
              <a:uFillTx/>
              <a:latin typeface="DB Sans"/>
              <a:ea typeface="+mn-ea"/>
              <a:cs typeface="+mn-cs"/>
            </a:endParaRPr>
          </a:p>
        </p:txBody>
      </p:sp>
    </p:spTree>
    <p:extLst>
      <p:ext uri="{BB962C8B-B14F-4D97-AF65-F5344CB8AC3E}">
        <p14:creationId xmlns:p14="http://schemas.microsoft.com/office/powerpoint/2010/main" val="3799694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17B57A-0059-40FE-A300-B8A67AE70BC8}"/>
              </a:ext>
            </a:extLst>
          </p:cNvPr>
          <p:cNvSpPr>
            <a:spLocks noGrp="1"/>
          </p:cNvSpPr>
          <p:nvPr>
            <p:ph type="title"/>
          </p:nvPr>
        </p:nvSpPr>
        <p:spPr/>
        <p:txBody>
          <a:bodyPr/>
          <a:lstStyle/>
          <a:p>
            <a:r>
              <a:rPr lang="en-US" err="1"/>
              <a:t>Onepager</a:t>
            </a:r>
            <a:r>
              <a:rPr lang="en-US"/>
              <a:t> for drivers: Increase your attention through risk triggered commentary!</a:t>
            </a:r>
            <a:endParaRPr lang="de-DE"/>
          </a:p>
        </p:txBody>
      </p:sp>
      <p:sp>
        <p:nvSpPr>
          <p:cNvPr id="3" name="Fußzeilenplatzhalter 2">
            <a:extLst>
              <a:ext uri="{FF2B5EF4-FFF2-40B4-BE49-F238E27FC236}">
                <a16:creationId xmlns:a16="http://schemas.microsoft.com/office/drawing/2014/main" id="{83BEF649-679B-4268-A518-8ABBEE6655F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DB Sans"/>
                <a:ea typeface="+mn-ea"/>
                <a:cs typeface="+mn-cs"/>
              </a:rPr>
              <a:t>© DB Regio AG | R.RBE Eisenbahnbetriebsleiter</a:t>
            </a:r>
          </a:p>
        </p:txBody>
      </p:sp>
      <p:sp>
        <p:nvSpPr>
          <p:cNvPr id="4" name="Foliennummernplatzhalter 3">
            <a:extLst>
              <a:ext uri="{FF2B5EF4-FFF2-40B4-BE49-F238E27FC236}">
                <a16:creationId xmlns:a16="http://schemas.microsoft.com/office/drawing/2014/main" id="{55443702-831E-4BF1-A970-56DE632007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000" b="1" i="0" u="none" strike="noStrike" kern="1200" cap="none" spc="0" normalizeH="0" baseline="0" noProof="0">
              <a:ln>
                <a:noFill/>
              </a:ln>
              <a:solidFill>
                <a:prstClr val="black"/>
              </a:solidFill>
              <a:effectLst/>
              <a:uLnTx/>
              <a:uFillTx/>
              <a:latin typeface="DB Sans"/>
              <a:ea typeface="+mn-ea"/>
              <a:cs typeface="+mn-cs"/>
            </a:endParaRPr>
          </a:p>
        </p:txBody>
      </p:sp>
      <p:pic>
        <p:nvPicPr>
          <p:cNvPr id="8" name="Grafik 7">
            <a:extLst>
              <a:ext uri="{FF2B5EF4-FFF2-40B4-BE49-F238E27FC236}">
                <a16:creationId xmlns:a16="http://schemas.microsoft.com/office/drawing/2014/main" id="{8C500749-D99A-4F65-82BD-125653ADFFA6}"/>
              </a:ext>
            </a:extLst>
          </p:cNvPr>
          <p:cNvPicPr>
            <a:picLocks noChangeAspect="1"/>
          </p:cNvPicPr>
          <p:nvPr/>
        </p:nvPicPr>
        <p:blipFill>
          <a:blip r:embed="rId12"/>
          <a:stretch>
            <a:fillRect/>
          </a:stretch>
        </p:blipFill>
        <p:spPr>
          <a:xfrm>
            <a:off x="371474" y="1369950"/>
            <a:ext cx="3623729" cy="5167650"/>
          </a:xfrm>
          <a:prstGeom prst="rect">
            <a:avLst/>
          </a:prstGeom>
          <a:effectLst>
            <a:outerShdw blurRad="50800" dist="38100" dir="2700000" algn="tl" rotWithShape="0">
              <a:prstClr val="black">
                <a:alpha val="40000"/>
              </a:prstClr>
            </a:outerShdw>
          </a:effectLst>
        </p:spPr>
      </p:pic>
      <p:sp>
        <p:nvSpPr>
          <p:cNvPr id="9" name="Freeform: Shape 2">
            <a:extLst>
              <a:ext uri="{FF2B5EF4-FFF2-40B4-BE49-F238E27FC236}">
                <a16:creationId xmlns:a16="http://schemas.microsoft.com/office/drawing/2014/main" id="{1D180FC8-4061-4EFE-A08C-B77480D6333B}"/>
              </a:ext>
            </a:extLst>
          </p:cNvPr>
          <p:cNvSpPr>
            <a:spLocks noChangeAspect="1"/>
          </p:cNvSpPr>
          <p:nvPr>
            <p:custDataLst>
              <p:tags r:id="rId1"/>
            </p:custDataLst>
          </p:nvPr>
        </p:nvSpPr>
        <p:spPr>
          <a:xfrm>
            <a:off x="4167548" y="1996999"/>
            <a:ext cx="180362" cy="565046"/>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10" name="Freeform: Shape 2">
            <a:extLst>
              <a:ext uri="{FF2B5EF4-FFF2-40B4-BE49-F238E27FC236}">
                <a16:creationId xmlns:a16="http://schemas.microsoft.com/office/drawing/2014/main" id="{8A4074BB-7BC8-45D2-ABD5-D37C4777385E}"/>
              </a:ext>
            </a:extLst>
          </p:cNvPr>
          <p:cNvSpPr>
            <a:spLocks noChangeAspect="1"/>
          </p:cNvSpPr>
          <p:nvPr>
            <p:custDataLst>
              <p:tags r:id="rId2"/>
            </p:custDataLst>
          </p:nvPr>
        </p:nvSpPr>
        <p:spPr>
          <a:xfrm>
            <a:off x="4167548" y="3043786"/>
            <a:ext cx="180362" cy="565046"/>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11" name="Freeform: Shape 2">
            <a:extLst>
              <a:ext uri="{FF2B5EF4-FFF2-40B4-BE49-F238E27FC236}">
                <a16:creationId xmlns:a16="http://schemas.microsoft.com/office/drawing/2014/main" id="{ED4B0F6D-2B97-4F50-81E7-64F0D03B5115}"/>
              </a:ext>
            </a:extLst>
          </p:cNvPr>
          <p:cNvSpPr>
            <a:spLocks noChangeAspect="1"/>
          </p:cNvSpPr>
          <p:nvPr>
            <p:custDataLst>
              <p:tags r:id="rId3"/>
            </p:custDataLst>
          </p:nvPr>
        </p:nvSpPr>
        <p:spPr>
          <a:xfrm>
            <a:off x="4167548" y="4090573"/>
            <a:ext cx="180362" cy="565046"/>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12" name="Freeform: Shape 2">
            <a:extLst>
              <a:ext uri="{FF2B5EF4-FFF2-40B4-BE49-F238E27FC236}">
                <a16:creationId xmlns:a16="http://schemas.microsoft.com/office/drawing/2014/main" id="{E411F02F-E146-4535-9019-6860243C473D}"/>
              </a:ext>
            </a:extLst>
          </p:cNvPr>
          <p:cNvSpPr>
            <a:spLocks noChangeAspect="1"/>
          </p:cNvSpPr>
          <p:nvPr>
            <p:custDataLst>
              <p:tags r:id="rId4"/>
            </p:custDataLst>
          </p:nvPr>
        </p:nvSpPr>
        <p:spPr>
          <a:xfrm>
            <a:off x="4167548" y="5137361"/>
            <a:ext cx="180362" cy="565046"/>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68580" bIns="6858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6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sp>
        <p:nvSpPr>
          <p:cNvPr id="13" name="Rectangle 36">
            <a:extLst>
              <a:ext uri="{FF2B5EF4-FFF2-40B4-BE49-F238E27FC236}">
                <a16:creationId xmlns:a16="http://schemas.microsoft.com/office/drawing/2014/main" id="{1D008839-2DC3-4324-9213-E56D33C3664F}"/>
              </a:ext>
            </a:extLst>
          </p:cNvPr>
          <p:cNvSpPr txBox="1">
            <a:spLocks/>
          </p:cNvSpPr>
          <p:nvPr>
            <p:custDataLst>
              <p:tags r:id="rId5"/>
            </p:custDataLst>
          </p:nvPr>
        </p:nvSpPr>
        <p:spPr>
          <a:xfrm>
            <a:off x="4440496" y="1900463"/>
            <a:ext cx="5304626" cy="756000"/>
          </a:xfrm>
          <a:prstGeom prst="rect">
            <a:avLst/>
          </a:prstGeom>
          <a:solidFill>
            <a:srgbClr val="EFF2F2"/>
          </a:solidFill>
        </p:spPr>
        <p:txBody>
          <a:bodyPr vert="horz" lIns="108000" tIns="54000" rIns="72000" bIns="54000" rtlCol="0" anchor="ctr" anchorCtr="0">
            <a:noAutofit/>
          </a:bodyPr>
          <a:lstStyle>
            <a:lvl1pPr marL="0" indent="0" algn="l" defTabSz="914400" rtl="0" eaLnBrk="1" latinLnBrk="0" hangingPunct="1">
              <a:lnSpc>
                <a:spcPct val="100000"/>
              </a:lnSpc>
              <a:spcBef>
                <a:spcPts val="600"/>
              </a:spcBef>
              <a:spcAft>
                <a:spcPts val="0"/>
              </a:spcAft>
              <a:buClr>
                <a:schemeClr val="accent2"/>
              </a:buClr>
              <a:buFontTx/>
              <a:buNone/>
              <a:defRPr sz="1600" kern="1200">
                <a:solidFill>
                  <a:schemeClr val="tx1"/>
                </a:solidFill>
                <a:latin typeface="+mn-lt"/>
                <a:ea typeface="+mn-ea"/>
                <a:cs typeface="+mn-cs"/>
              </a:defRPr>
            </a:lvl1pPr>
            <a:lvl2pPr marL="174625"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2pPr>
            <a:lvl3pPr marL="363538" indent="-1889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3pPr>
            <a:lvl4pPr marL="538163"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4pPr>
            <a:lvl5pPr marL="714375" indent="-1762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auto" latinLnBrk="0" hangingPunct="0">
              <a:lnSpc>
                <a:spcPct val="100000"/>
              </a:lnSpc>
              <a:spcBef>
                <a:spcPct val="0"/>
              </a:spcBef>
              <a:spcAft>
                <a:spcPct val="0"/>
              </a:spcAft>
              <a:buClrTx/>
              <a:buSzTx/>
              <a:buFontTx/>
              <a:buNone/>
              <a:tabLst>
                <a:tab pos="274638" algn="l"/>
              </a:tabLst>
              <a:defRPr/>
            </a:pPr>
            <a:r>
              <a:rPr kumimoji="0" lang="en-US" altLang="de-DE" sz="1600" b="0" i="0" u="none" strike="noStrike" kern="1200" cap="none" spc="0" normalizeH="0" baseline="0" noProof="0">
                <a:ln>
                  <a:noFill/>
                </a:ln>
                <a:solidFill>
                  <a:srgbClr val="000000"/>
                </a:solidFill>
                <a:effectLst/>
                <a:uLnTx/>
                <a:uFillTx/>
                <a:latin typeface="DB Sans"/>
                <a:ea typeface="Times New Roman" panose="02020603050405020304" pitchFamily="18" charset="0"/>
                <a:cs typeface="Times New Roman" panose="02020603050405020304" pitchFamily="18" charset="0"/>
              </a:rPr>
              <a:t>Without </a:t>
            </a:r>
            <a:r>
              <a:rPr kumimoji="0" lang="en-US" altLang="de-DE" sz="1600" b="0" i="0" u="none" strike="noStrike" kern="1200" cap="none" spc="0" normalizeH="0" baseline="0" noProof="0" err="1">
                <a:ln>
                  <a:noFill/>
                </a:ln>
                <a:solidFill>
                  <a:srgbClr val="000000"/>
                </a:solidFill>
                <a:effectLst/>
                <a:uLnTx/>
                <a:uFillTx/>
                <a:latin typeface="DB Sans"/>
                <a:ea typeface="Times New Roman" panose="02020603050405020304" pitchFamily="18" charset="0"/>
                <a:cs typeface="Times New Roman" panose="02020603050405020304" pitchFamily="18" charset="0"/>
              </a:rPr>
              <a:t>recognising</a:t>
            </a:r>
            <a:r>
              <a:rPr kumimoji="0" lang="en-US" altLang="de-DE" sz="1600" b="0" i="0" u="none" strike="noStrike" kern="1200" cap="none" spc="0" normalizeH="0" baseline="0" noProof="0">
                <a:ln>
                  <a:noFill/>
                </a:ln>
                <a:solidFill>
                  <a:srgbClr val="000000"/>
                </a:solidFill>
                <a:effectLst/>
                <a:uLnTx/>
                <a:uFillTx/>
                <a:latin typeface="DB Sans"/>
                <a:ea typeface="Times New Roman" panose="02020603050405020304" pitchFamily="18" charset="0"/>
                <a:cs typeface="Times New Roman" panose="02020603050405020304" pitchFamily="18" charset="0"/>
              </a:rPr>
              <a:t> the risk, I cannot announce it and have no possibility to decide and do something against undesired consequences.</a:t>
            </a:r>
            <a:endParaRPr kumimoji="0" lang="de-DE" altLang="de-DE" sz="1600" b="0" i="0" u="none" strike="noStrike" kern="1200" cap="none" spc="0" normalizeH="0" baseline="0" noProof="0">
              <a:ln>
                <a:noFill/>
              </a:ln>
              <a:solidFill>
                <a:prstClr val="black"/>
              </a:solidFill>
              <a:effectLst/>
              <a:uLnTx/>
              <a:uFillTx/>
              <a:latin typeface="DB Sans"/>
              <a:ea typeface="+mn-ea"/>
              <a:cs typeface="+mn-cs"/>
            </a:endParaRPr>
          </a:p>
        </p:txBody>
      </p:sp>
      <p:sp>
        <p:nvSpPr>
          <p:cNvPr id="14" name="Rectangle 40">
            <a:extLst>
              <a:ext uri="{FF2B5EF4-FFF2-40B4-BE49-F238E27FC236}">
                <a16:creationId xmlns:a16="http://schemas.microsoft.com/office/drawing/2014/main" id="{0D6B8478-01B1-4E11-9696-3E8B7DF18C1A}"/>
              </a:ext>
            </a:extLst>
          </p:cNvPr>
          <p:cNvSpPr>
            <a:spLocks noChangeArrowheads="1"/>
          </p:cNvSpPr>
          <p:nvPr>
            <p:custDataLst>
              <p:tags r:id="rId6"/>
            </p:custDataLst>
          </p:nvPr>
        </p:nvSpPr>
        <p:spPr bwMode="gray">
          <a:xfrm>
            <a:off x="4434828" y="2947603"/>
            <a:ext cx="5304626" cy="756000"/>
          </a:xfrm>
          <a:prstGeom prst="rect">
            <a:avLst/>
          </a:prstGeom>
          <a:solidFill>
            <a:srgbClr val="EFF2F2"/>
          </a:solidFill>
        </p:spPr>
        <p:txBody>
          <a:bodyPr vert="horz" lIns="108000" tIns="54000" rIns="72000" bIns="54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tab pos="274638" algn="l"/>
              </a:tabLst>
              <a:defRPr/>
            </a:pPr>
            <a:r>
              <a:rPr kumimoji="0" lang="en-US" altLang="de-DE" sz="1600" b="0" i="0" u="none" strike="noStrike" kern="1200" cap="none" spc="0" normalizeH="0" baseline="0" noProof="0">
                <a:ln>
                  <a:noFill/>
                </a:ln>
                <a:solidFill>
                  <a:srgbClr val="000000"/>
                </a:solidFill>
                <a:effectLst/>
                <a:uLnTx/>
                <a:uFillTx/>
                <a:latin typeface="DB Sans"/>
                <a:ea typeface="+mn-ea"/>
                <a:cs typeface="Times New Roman" panose="02020603050405020304" pitchFamily="18" charset="0"/>
              </a:rPr>
              <a:t>Then pause briefly, register and be better able to decide what to do physically with hands and feet now.</a:t>
            </a:r>
            <a:endParaRPr kumimoji="0" lang="de-DE" altLang="de-DE" sz="1600" b="0" i="0" u="none" strike="noStrike" kern="1200" cap="none" spc="0" normalizeH="0" baseline="0" noProof="0">
              <a:ln>
                <a:noFill/>
              </a:ln>
              <a:solidFill>
                <a:srgbClr val="000000"/>
              </a:solidFill>
              <a:effectLst/>
              <a:uLnTx/>
              <a:uFillTx/>
              <a:latin typeface="DB Sans"/>
              <a:ea typeface="+mn-ea"/>
              <a:cs typeface="Times New Roman" panose="02020603050405020304" pitchFamily="18" charset="0"/>
            </a:endParaRPr>
          </a:p>
        </p:txBody>
      </p:sp>
      <p:sp>
        <p:nvSpPr>
          <p:cNvPr id="15" name="Rectangle 40">
            <a:extLst>
              <a:ext uri="{FF2B5EF4-FFF2-40B4-BE49-F238E27FC236}">
                <a16:creationId xmlns:a16="http://schemas.microsoft.com/office/drawing/2014/main" id="{930F680A-BAD2-46BD-B011-1FF17EEDBFBA}"/>
              </a:ext>
            </a:extLst>
          </p:cNvPr>
          <p:cNvSpPr>
            <a:spLocks noChangeArrowheads="1"/>
          </p:cNvSpPr>
          <p:nvPr>
            <p:custDataLst>
              <p:tags r:id="rId7"/>
            </p:custDataLst>
          </p:nvPr>
        </p:nvSpPr>
        <p:spPr bwMode="gray">
          <a:xfrm>
            <a:off x="4426096" y="3994743"/>
            <a:ext cx="5318729" cy="756000"/>
          </a:xfrm>
          <a:prstGeom prst="rect">
            <a:avLst/>
          </a:prstGeom>
          <a:solidFill>
            <a:srgbClr val="EFF2F2"/>
          </a:solidFill>
        </p:spPr>
        <p:txBody>
          <a:bodyPr vert="horz" lIns="108000" tIns="54000" rIns="72000" bIns="54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tab pos="274638" algn="l"/>
              </a:tabLst>
              <a:defRPr/>
            </a:pPr>
            <a:r>
              <a:rPr kumimoji="0" lang="en-US" altLang="de-DE" sz="1600" b="0" i="0" u="none" strike="noStrike" kern="1200" cap="none" spc="0" normalizeH="0" baseline="0" noProof="0">
                <a:ln>
                  <a:noFill/>
                </a:ln>
                <a:solidFill>
                  <a:srgbClr val="000000"/>
                </a:solidFill>
                <a:effectLst/>
                <a:uLnTx/>
                <a:uFillTx/>
                <a:latin typeface="DB Sans"/>
                <a:ea typeface="+mn-ea"/>
                <a:cs typeface="Times New Roman" panose="02020603050405020304" pitchFamily="18" charset="0"/>
              </a:rPr>
              <a:t>Tap to make yourself aware of the one step and remember it better, despite the routine. </a:t>
            </a:r>
          </a:p>
        </p:txBody>
      </p:sp>
      <p:sp>
        <p:nvSpPr>
          <p:cNvPr id="16" name="Rectangle 42">
            <a:extLst>
              <a:ext uri="{FF2B5EF4-FFF2-40B4-BE49-F238E27FC236}">
                <a16:creationId xmlns:a16="http://schemas.microsoft.com/office/drawing/2014/main" id="{2BC95D04-6090-4288-9281-4A57D6610DE0}"/>
              </a:ext>
            </a:extLst>
          </p:cNvPr>
          <p:cNvSpPr>
            <a:spLocks noChangeArrowheads="1"/>
          </p:cNvSpPr>
          <p:nvPr>
            <p:custDataLst>
              <p:tags r:id="rId8"/>
            </p:custDataLst>
          </p:nvPr>
        </p:nvSpPr>
        <p:spPr bwMode="gray">
          <a:xfrm>
            <a:off x="4431218" y="5041884"/>
            <a:ext cx="5319871" cy="756000"/>
          </a:xfrm>
          <a:prstGeom prst="rect">
            <a:avLst/>
          </a:prstGeom>
          <a:solidFill>
            <a:srgbClr val="EFF2F2"/>
          </a:solidFill>
        </p:spPr>
        <p:txBody>
          <a:bodyPr vert="horz" lIns="108000" tIns="54000" rIns="72000" bIns="54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tab pos="274638" algn="l"/>
              </a:tabLst>
              <a:defRPr/>
            </a:pPr>
            <a:r>
              <a:rPr kumimoji="0" lang="en-US" altLang="de-DE" sz="1600" b="0" i="0" u="none" strike="noStrike" kern="1200" cap="none" spc="0" normalizeH="0" baseline="0" noProof="0">
                <a:ln>
                  <a:noFill/>
                </a:ln>
                <a:solidFill>
                  <a:srgbClr val="000000"/>
                </a:solidFill>
                <a:effectLst/>
                <a:uLnTx/>
                <a:uFillTx/>
                <a:latin typeface="DB Sans"/>
                <a:ea typeface="+mn-ea"/>
                <a:cs typeface="Times New Roman" panose="02020603050405020304" pitchFamily="18" charset="0"/>
              </a:rPr>
              <a:t>If the hand is then on the brake lever when braking with the arm pulled back, this action also strengthens the memory, approaching a signal stop.</a:t>
            </a:r>
          </a:p>
        </p:txBody>
      </p:sp>
      <p:grpSp>
        <p:nvGrpSpPr>
          <p:cNvPr id="20" name="easyIcon">
            <a:extLst>
              <a:ext uri="{FF2B5EF4-FFF2-40B4-BE49-F238E27FC236}">
                <a16:creationId xmlns:a16="http://schemas.microsoft.com/office/drawing/2014/main" id="{AAAB4168-B503-4823-AD42-F82147AEE0C3}"/>
              </a:ext>
            </a:extLst>
          </p:cNvPr>
          <p:cNvGrpSpPr>
            <a:grpSpLocks noChangeAspect="1"/>
          </p:cNvGrpSpPr>
          <p:nvPr>
            <p:custDataLst>
              <p:tags r:id="rId9"/>
            </p:custDataLst>
          </p:nvPr>
        </p:nvGrpSpPr>
        <p:grpSpPr>
          <a:xfrm>
            <a:off x="9359160" y="2318989"/>
            <a:ext cx="2916480" cy="3060370"/>
            <a:chOff x="2992544" y="2189237"/>
            <a:chExt cx="446281" cy="468300"/>
          </a:xfrm>
        </p:grpSpPr>
        <p:sp>
          <p:nvSpPr>
            <p:cNvPr id="21" name="Background">
              <a:extLst>
                <a:ext uri="{FF2B5EF4-FFF2-40B4-BE49-F238E27FC236}">
                  <a16:creationId xmlns:a16="http://schemas.microsoft.com/office/drawing/2014/main" id="{03104385-1BD7-4E45-A124-F0838200B326}"/>
                </a:ext>
              </a:extLst>
            </p:cNvPr>
            <p:cNvSpPr/>
            <p:nvPr/>
          </p:nvSpPr>
          <p:spPr>
            <a:xfrm>
              <a:off x="2992544" y="2211256"/>
              <a:ext cx="446281" cy="446281"/>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22" name="Vector">
              <a:extLst>
                <a:ext uri="{FF2B5EF4-FFF2-40B4-BE49-F238E27FC236}">
                  <a16:creationId xmlns:a16="http://schemas.microsoft.com/office/drawing/2014/main" id="{7AD8D136-5833-433E-8D09-6C177A0B47E6}"/>
                </a:ext>
              </a:extLst>
            </p:cNvPr>
            <p:cNvPicPr>
              <a:picLocks noChangeAspect="1"/>
            </p:cNvPicPr>
            <p:nvPr>
              <p:custDataLst>
                <p:tags r:id="rId10"/>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p:blipFill>
          <p:spPr>
            <a:xfrm>
              <a:off x="3001371" y="2189237"/>
              <a:ext cx="428625" cy="428625"/>
            </a:xfrm>
            <a:prstGeom prst="rect">
              <a:avLst/>
            </a:prstGeom>
          </p:spPr>
        </p:pic>
      </p:grpSp>
      <p:pic>
        <p:nvPicPr>
          <p:cNvPr id="23" name="Grafik 22">
            <a:extLst>
              <a:ext uri="{FF2B5EF4-FFF2-40B4-BE49-F238E27FC236}">
                <a16:creationId xmlns:a16="http://schemas.microsoft.com/office/drawing/2014/main" id="{475E3110-150F-4210-BA84-A1D0E778A9F9}"/>
              </a:ext>
            </a:extLst>
          </p:cNvPr>
          <p:cNvPicPr/>
          <p:nvPr/>
        </p:nvPicPr>
        <p:blipFill rotWithShape="1">
          <a:blip r:embed="rId15">
            <a:extLst>
              <a:ext uri="{BEBA8EAE-BF5A-486C-A8C5-ECC9F3942E4B}">
                <a14:imgProps xmlns:a14="http://schemas.microsoft.com/office/drawing/2010/main">
                  <a14:imgLayer r:embed="rId16">
                    <a14:imgEffect>
                      <a14:saturation sat="104000"/>
                    </a14:imgEffect>
                    <a14:imgEffect>
                      <a14:brightnessContrast bright="-1000" contrast="4000"/>
                    </a14:imgEffect>
                  </a14:imgLayer>
                </a14:imgProps>
              </a:ext>
              <a:ext uri="{28A0092B-C50C-407E-A947-70E740481C1C}">
                <a14:useLocalDpi xmlns:a14="http://schemas.microsoft.com/office/drawing/2010/main" val="0"/>
              </a:ext>
            </a:extLst>
          </a:blip>
          <a:srcRect t="-1765"/>
          <a:stretch/>
        </p:blipFill>
        <p:spPr>
          <a:xfrm>
            <a:off x="10340361" y="2646083"/>
            <a:ext cx="1025167" cy="998931"/>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097321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p:cNvSpPr>
            <a:spLocks noGrp="1"/>
          </p:cNvSpPr>
          <p:nvPr>
            <p:ph type="title"/>
          </p:nvPr>
        </p:nvSpPr>
        <p:spPr>
          <a:xfrm>
            <a:off x="371474" y="296695"/>
            <a:ext cx="10477054" cy="736639"/>
          </a:xfrm>
        </p:spPr>
        <p:txBody>
          <a:bodyPr/>
          <a:lstStyle/>
          <a:p>
            <a:r>
              <a:rPr lang="de-DE" b="1" kern="1200">
                <a:solidFill>
                  <a:schemeClr val="tx1"/>
                </a:solidFill>
                <a:latin typeface="+mn-lt"/>
              </a:rPr>
              <a:t>A </a:t>
            </a:r>
            <a:r>
              <a:rPr lang="de-DE" b="1" kern="1200" err="1">
                <a:solidFill>
                  <a:schemeClr val="tx1"/>
                </a:solidFill>
                <a:latin typeface="+mn-lt"/>
              </a:rPr>
              <a:t>very</a:t>
            </a:r>
            <a:r>
              <a:rPr lang="de-DE" b="1" kern="1200">
                <a:solidFill>
                  <a:schemeClr val="tx1"/>
                </a:solidFill>
                <a:latin typeface="+mn-lt"/>
              </a:rPr>
              <a:t> </a:t>
            </a:r>
            <a:r>
              <a:rPr lang="de-DE" b="1" kern="1200" err="1">
                <a:solidFill>
                  <a:schemeClr val="tx1"/>
                </a:solidFill>
                <a:latin typeface="+mn-lt"/>
              </a:rPr>
              <a:t>well</a:t>
            </a:r>
            <a:r>
              <a:rPr lang="de-DE" b="1" kern="1200">
                <a:solidFill>
                  <a:schemeClr val="tx1"/>
                </a:solidFill>
                <a:latin typeface="+mn-lt"/>
              </a:rPr>
              <a:t> </a:t>
            </a:r>
            <a:r>
              <a:rPr lang="de-DE" b="1" kern="1200" err="1">
                <a:solidFill>
                  <a:schemeClr val="tx1"/>
                </a:solidFill>
                <a:latin typeface="+mn-lt"/>
              </a:rPr>
              <a:t>liked</a:t>
            </a:r>
            <a:r>
              <a:rPr lang="de-DE" b="1" kern="1200">
                <a:solidFill>
                  <a:schemeClr val="tx1"/>
                </a:solidFill>
                <a:latin typeface="+mn-lt"/>
              </a:rPr>
              <a:t> </a:t>
            </a:r>
            <a:r>
              <a:rPr lang="de-DE" b="1" kern="1200" err="1">
                <a:solidFill>
                  <a:schemeClr val="tx1"/>
                </a:solidFill>
                <a:latin typeface="+mn-lt"/>
              </a:rPr>
              <a:t>drink</a:t>
            </a:r>
            <a:r>
              <a:rPr lang="de-DE" b="1" kern="1200">
                <a:solidFill>
                  <a:schemeClr val="tx1"/>
                </a:solidFill>
                <a:latin typeface="+mn-lt"/>
              </a:rPr>
              <a:t> on </a:t>
            </a:r>
            <a:r>
              <a:rPr lang="de-DE" b="1" kern="1200" err="1">
                <a:solidFill>
                  <a:schemeClr val="tx1"/>
                </a:solidFill>
                <a:latin typeface="+mn-lt"/>
              </a:rPr>
              <a:t>the</a:t>
            </a:r>
            <a:r>
              <a:rPr lang="de-DE" b="1" kern="1200">
                <a:solidFill>
                  <a:schemeClr val="tx1"/>
                </a:solidFill>
                <a:latin typeface="+mn-lt"/>
              </a:rPr>
              <a:t> </a:t>
            </a:r>
            <a:r>
              <a:rPr lang="de-DE" b="1" kern="1200" err="1">
                <a:solidFill>
                  <a:schemeClr val="tx1"/>
                </a:solidFill>
                <a:latin typeface="+mn-lt"/>
              </a:rPr>
              <a:t>railway</a:t>
            </a:r>
            <a:r>
              <a:rPr lang="de-DE" b="1" kern="1200">
                <a:solidFill>
                  <a:schemeClr val="tx1"/>
                </a:solidFill>
                <a:latin typeface="+mn-lt"/>
              </a:rPr>
              <a:t> </a:t>
            </a:r>
            <a:r>
              <a:rPr lang="de-DE" b="1" kern="1200" err="1">
                <a:solidFill>
                  <a:schemeClr val="tx1"/>
                </a:solidFill>
                <a:latin typeface="+mn-lt"/>
              </a:rPr>
              <a:t>or</a:t>
            </a:r>
            <a:r>
              <a:rPr lang="de-DE" b="1" kern="1200">
                <a:solidFill>
                  <a:schemeClr val="tx1"/>
                </a:solidFill>
                <a:latin typeface="+mn-lt"/>
              </a:rPr>
              <a:t> </a:t>
            </a:r>
            <a:r>
              <a:rPr lang="de-DE" b="1" kern="1200" err="1">
                <a:solidFill>
                  <a:schemeClr val="tx1"/>
                </a:solidFill>
                <a:latin typeface="+mn-lt"/>
              </a:rPr>
              <a:t>any</a:t>
            </a:r>
            <a:r>
              <a:rPr lang="de-DE" b="1" kern="1200">
                <a:solidFill>
                  <a:schemeClr val="tx1"/>
                </a:solidFill>
                <a:latin typeface="+mn-lt"/>
              </a:rPr>
              <a:t> </a:t>
            </a:r>
            <a:r>
              <a:rPr lang="de-DE" b="1" kern="1200" err="1">
                <a:solidFill>
                  <a:schemeClr val="tx1"/>
                </a:solidFill>
                <a:latin typeface="+mn-lt"/>
              </a:rPr>
              <a:t>other</a:t>
            </a:r>
            <a:r>
              <a:rPr lang="de-DE" b="1" kern="1200">
                <a:solidFill>
                  <a:schemeClr val="tx1"/>
                </a:solidFill>
                <a:latin typeface="+mn-lt"/>
              </a:rPr>
              <a:t> shift </a:t>
            </a:r>
            <a:r>
              <a:rPr lang="de-DE" b="1" kern="1200" err="1">
                <a:solidFill>
                  <a:schemeClr val="tx1"/>
                </a:solidFill>
                <a:latin typeface="+mn-lt"/>
              </a:rPr>
              <a:t>based</a:t>
            </a:r>
            <a:r>
              <a:rPr lang="de-DE" b="1" kern="1200">
                <a:solidFill>
                  <a:schemeClr val="tx1"/>
                </a:solidFill>
                <a:latin typeface="+mn-lt"/>
              </a:rPr>
              <a:t> </a:t>
            </a:r>
            <a:r>
              <a:rPr lang="de-DE" b="1" kern="1200" err="1">
                <a:solidFill>
                  <a:schemeClr val="tx1"/>
                </a:solidFill>
                <a:latin typeface="+mn-lt"/>
              </a:rPr>
              <a:t>industry</a:t>
            </a:r>
            <a:r>
              <a:rPr lang="de-DE" b="1" kern="1200">
                <a:solidFill>
                  <a:schemeClr val="tx1"/>
                </a:solidFill>
                <a:latin typeface="+mn-lt"/>
              </a:rPr>
              <a:t> </a:t>
            </a:r>
            <a:r>
              <a:rPr lang="de-DE" b="1" kern="1200" err="1">
                <a:solidFill>
                  <a:schemeClr val="tx1"/>
                </a:solidFill>
                <a:latin typeface="+mn-lt"/>
              </a:rPr>
              <a:t>is</a:t>
            </a:r>
            <a:r>
              <a:rPr lang="de-DE" b="1" kern="1200">
                <a:solidFill>
                  <a:schemeClr val="tx1"/>
                </a:solidFill>
                <a:latin typeface="+mn-lt"/>
              </a:rPr>
              <a:t> </a:t>
            </a:r>
            <a:r>
              <a:rPr lang="de-DE" b="1" kern="1200" err="1">
                <a:solidFill>
                  <a:schemeClr val="tx1"/>
                </a:solidFill>
                <a:latin typeface="+mn-lt"/>
              </a:rPr>
              <a:t>coffee</a:t>
            </a:r>
            <a:endParaRPr lang="de-DE" b="1" kern="1200">
              <a:solidFill>
                <a:schemeClr val="tx1"/>
              </a:solidFill>
              <a:latin typeface="+mn-lt"/>
            </a:endParaRPr>
          </a:p>
        </p:txBody>
      </p:sp>
      <p:sp>
        <p:nvSpPr>
          <p:cNvPr id="13" name="Fußzeilenplatzhalter 12">
            <a:extLst>
              <a:ext uri="{FF2B5EF4-FFF2-40B4-BE49-F238E27FC236}">
                <a16:creationId xmlns:a16="http://schemas.microsoft.com/office/drawing/2014/main" id="{EE8FB2AB-55A7-4C18-9001-5000AF592FD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DB Sans"/>
                <a:ea typeface="+mn-ea"/>
                <a:cs typeface="+mn-cs"/>
              </a:rPr>
              <a:t>© DB Regio AG | R.RBE Eisenbahnbetriebsleiter</a:t>
            </a:r>
          </a:p>
        </p:txBody>
      </p:sp>
      <p:sp>
        <p:nvSpPr>
          <p:cNvPr id="16" name="Foliennummernplatzhalter 15">
            <a:extLst>
              <a:ext uri="{FF2B5EF4-FFF2-40B4-BE49-F238E27FC236}">
                <a16:creationId xmlns:a16="http://schemas.microsoft.com/office/drawing/2014/main" id="{52F3DA44-E622-432F-B122-3AFBAC58F5F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000" b="1" i="0" u="none" strike="noStrike" kern="1200" cap="none" spc="0" normalizeH="0" baseline="0" noProof="0">
              <a:ln>
                <a:noFill/>
              </a:ln>
              <a:solidFill>
                <a:prstClr val="black"/>
              </a:solidFill>
              <a:effectLst/>
              <a:uLnTx/>
              <a:uFillTx/>
              <a:latin typeface="DB Sans"/>
              <a:ea typeface="+mn-ea"/>
              <a:cs typeface="+mn-cs"/>
            </a:endParaRPr>
          </a:p>
        </p:txBody>
      </p:sp>
      <p:sp>
        <p:nvSpPr>
          <p:cNvPr id="46" name="Textbox">
            <a:extLst>
              <a:ext uri="{FF2B5EF4-FFF2-40B4-BE49-F238E27FC236}">
                <a16:creationId xmlns:a16="http://schemas.microsoft.com/office/drawing/2014/main" id="{CE2C07C5-E3CE-420E-935B-2034D4496CBC}"/>
              </a:ext>
            </a:extLst>
          </p:cNvPr>
          <p:cNvSpPr txBox="1">
            <a:spLocks/>
          </p:cNvSpPr>
          <p:nvPr/>
        </p:nvSpPr>
        <p:spPr>
          <a:xfrm>
            <a:off x="5265206" y="2974838"/>
            <a:ext cx="1611001" cy="193320"/>
          </a:xfrm>
          <a:prstGeom prst="rect">
            <a:avLst/>
          </a:prstGeom>
        </p:spPr>
        <p:txBody>
          <a:bodyPr vert="horz" lIns="0" tIns="0" rIns="0" bIns="0" rtlCol="0" anchor="ctr" anchorCtr="0">
            <a:noAutofit/>
          </a:bodyPr>
          <a:lstStyle>
            <a:defPPr>
              <a:defRPr lang="de-DE"/>
            </a:defPPr>
            <a:lvl1pPr indent="0" algn="ctr">
              <a:lnSpc>
                <a:spcPct val="100000"/>
              </a:lnSpc>
              <a:spcBef>
                <a:spcPts val="600"/>
              </a:spcBef>
              <a:spcAft>
                <a:spcPts val="0"/>
              </a:spcAft>
              <a:buClr>
                <a:schemeClr val="accent2"/>
              </a:buClr>
              <a:buFontTx/>
              <a:buNone/>
              <a:defRPr sz="1600" b="1"/>
            </a:lvl1pPr>
            <a:lvl2pPr marL="174625" indent="-174625">
              <a:lnSpc>
                <a:spcPct val="100000"/>
              </a:lnSpc>
              <a:spcBef>
                <a:spcPts val="600"/>
              </a:spcBef>
              <a:spcAft>
                <a:spcPts val="0"/>
              </a:spcAft>
              <a:buClr>
                <a:schemeClr val="accent2"/>
              </a:buClr>
              <a:buFont typeface="DB Sans" panose="020B0502050202020204" pitchFamily="34" charset="0"/>
              <a:buChar char="‒"/>
              <a:defRPr sz="1600"/>
            </a:lvl2pPr>
            <a:lvl3pPr marL="363538" indent="-188913">
              <a:lnSpc>
                <a:spcPct val="100000"/>
              </a:lnSpc>
              <a:spcBef>
                <a:spcPts val="600"/>
              </a:spcBef>
              <a:spcAft>
                <a:spcPts val="0"/>
              </a:spcAft>
              <a:buClr>
                <a:schemeClr val="accent2"/>
              </a:buClr>
              <a:buFont typeface="DB Sans" panose="020B0502050202020204" pitchFamily="34" charset="0"/>
              <a:buChar char="‒"/>
              <a:defRPr sz="1600"/>
            </a:lvl3pPr>
            <a:lvl4pPr marL="538163" indent="-174625">
              <a:lnSpc>
                <a:spcPct val="100000"/>
              </a:lnSpc>
              <a:spcBef>
                <a:spcPts val="600"/>
              </a:spcBef>
              <a:spcAft>
                <a:spcPts val="0"/>
              </a:spcAft>
              <a:buClr>
                <a:schemeClr val="accent2"/>
              </a:buClr>
              <a:buFont typeface="DB Sans" panose="020B0502050202020204" pitchFamily="34" charset="0"/>
              <a:buChar char="‒"/>
              <a:defRPr sz="1600"/>
            </a:lvl4pPr>
            <a:lvl5pPr marL="714375" indent="-176213">
              <a:lnSpc>
                <a:spcPct val="100000"/>
              </a:lnSpc>
              <a:spcBef>
                <a:spcPts val="600"/>
              </a:spcBef>
              <a:spcAft>
                <a:spcPts val="0"/>
              </a:spcAft>
              <a:buClr>
                <a:schemeClr val="accent2"/>
              </a:buClr>
              <a:buFont typeface="DB Sans" panose="020B050205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600"/>
              </a:spcBef>
              <a:spcAft>
                <a:spcPts val="0"/>
              </a:spcAft>
              <a:buClr>
                <a:srgbClr val="EC0016"/>
              </a:buClr>
              <a:buSzTx/>
              <a:buFontTx/>
              <a:buNone/>
              <a:tabLst/>
              <a:defRPr/>
            </a:pPr>
            <a:r>
              <a:rPr kumimoji="0" lang="en-US" sz="1400" b="1" i="0" u="none" strike="noStrike" kern="1200" cap="none" spc="0" normalizeH="0" baseline="0" noProof="0">
                <a:ln>
                  <a:noFill/>
                </a:ln>
                <a:solidFill>
                  <a:prstClr val="black"/>
                </a:solidFill>
                <a:effectLst/>
                <a:uLnTx/>
                <a:uFillTx/>
                <a:latin typeface="DB Sans"/>
                <a:ea typeface="+mn-ea"/>
                <a:cs typeface="+mn-cs"/>
              </a:rPr>
              <a:t>Why do drivers find it effective?</a:t>
            </a:r>
            <a:endParaRPr kumimoji="0" lang="de-DE" sz="1400" b="1" i="0" u="none" strike="noStrike" kern="1200" cap="none" spc="0" normalizeH="0" baseline="0" noProof="0">
              <a:ln>
                <a:noFill/>
              </a:ln>
              <a:solidFill>
                <a:prstClr val="black"/>
              </a:solidFill>
              <a:effectLst/>
              <a:uLnTx/>
              <a:uFillTx/>
              <a:latin typeface="DB Sans"/>
              <a:ea typeface="+mn-ea"/>
              <a:cs typeface="+mn-cs"/>
            </a:endParaRPr>
          </a:p>
        </p:txBody>
      </p:sp>
      <p:sp>
        <p:nvSpPr>
          <p:cNvPr id="47" name="Textbox">
            <a:extLst>
              <a:ext uri="{FF2B5EF4-FFF2-40B4-BE49-F238E27FC236}">
                <a16:creationId xmlns:a16="http://schemas.microsoft.com/office/drawing/2014/main" id="{A68D611C-009B-41F0-8E7D-D037A5B2FBC1}"/>
              </a:ext>
            </a:extLst>
          </p:cNvPr>
          <p:cNvSpPr txBox="1">
            <a:spLocks/>
          </p:cNvSpPr>
          <p:nvPr/>
        </p:nvSpPr>
        <p:spPr>
          <a:xfrm>
            <a:off x="7881142" y="2974838"/>
            <a:ext cx="1611001" cy="193320"/>
          </a:xfrm>
          <a:prstGeom prst="rect">
            <a:avLst/>
          </a:prstGeom>
        </p:spPr>
        <p:txBody>
          <a:bodyPr vert="horz" lIns="0" tIns="0" rIns="0" bIns="0" rtlCol="0" anchor="ctr" anchorCtr="0">
            <a:noAutofit/>
          </a:bodyPr>
          <a:lstStyle>
            <a:defPPr>
              <a:defRPr lang="de-DE"/>
            </a:defPPr>
            <a:lvl1pPr indent="0" algn="ctr">
              <a:lnSpc>
                <a:spcPct val="100000"/>
              </a:lnSpc>
              <a:spcBef>
                <a:spcPts val="600"/>
              </a:spcBef>
              <a:spcAft>
                <a:spcPts val="0"/>
              </a:spcAft>
              <a:buClr>
                <a:schemeClr val="accent2"/>
              </a:buClr>
              <a:buFontTx/>
              <a:buNone/>
              <a:defRPr sz="1600" b="1"/>
            </a:lvl1pPr>
            <a:lvl2pPr marL="174625" indent="-174625">
              <a:lnSpc>
                <a:spcPct val="100000"/>
              </a:lnSpc>
              <a:spcBef>
                <a:spcPts val="600"/>
              </a:spcBef>
              <a:spcAft>
                <a:spcPts val="0"/>
              </a:spcAft>
              <a:buClr>
                <a:schemeClr val="accent2"/>
              </a:buClr>
              <a:buFont typeface="DB Sans" panose="020B0502050202020204" pitchFamily="34" charset="0"/>
              <a:buChar char="‒"/>
              <a:defRPr sz="1600"/>
            </a:lvl2pPr>
            <a:lvl3pPr marL="363538" indent="-188913">
              <a:lnSpc>
                <a:spcPct val="100000"/>
              </a:lnSpc>
              <a:spcBef>
                <a:spcPts val="600"/>
              </a:spcBef>
              <a:spcAft>
                <a:spcPts val="0"/>
              </a:spcAft>
              <a:buClr>
                <a:schemeClr val="accent2"/>
              </a:buClr>
              <a:buFont typeface="DB Sans" panose="020B0502050202020204" pitchFamily="34" charset="0"/>
              <a:buChar char="‒"/>
              <a:defRPr sz="1600"/>
            </a:lvl3pPr>
            <a:lvl4pPr marL="538163" indent="-174625">
              <a:lnSpc>
                <a:spcPct val="100000"/>
              </a:lnSpc>
              <a:spcBef>
                <a:spcPts val="600"/>
              </a:spcBef>
              <a:spcAft>
                <a:spcPts val="0"/>
              </a:spcAft>
              <a:buClr>
                <a:schemeClr val="accent2"/>
              </a:buClr>
              <a:buFont typeface="DB Sans" panose="020B0502050202020204" pitchFamily="34" charset="0"/>
              <a:buChar char="‒"/>
              <a:defRPr sz="1600"/>
            </a:lvl4pPr>
            <a:lvl5pPr marL="714375" indent="-176213">
              <a:lnSpc>
                <a:spcPct val="100000"/>
              </a:lnSpc>
              <a:spcBef>
                <a:spcPts val="600"/>
              </a:spcBef>
              <a:spcAft>
                <a:spcPts val="0"/>
              </a:spcAft>
              <a:buClr>
                <a:schemeClr val="accent2"/>
              </a:buClr>
              <a:buFont typeface="DB Sans" panose="020B050205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600"/>
              </a:spcBef>
              <a:spcAft>
                <a:spcPts val="0"/>
              </a:spcAft>
              <a:buClr>
                <a:srgbClr val="EC0016"/>
              </a:buClr>
              <a:buSzTx/>
              <a:buFontTx/>
              <a:buNone/>
              <a:tabLst/>
              <a:defRPr/>
            </a:pPr>
            <a:r>
              <a:rPr kumimoji="0" lang="de-DE" sz="1400" b="1" i="0" u="none" strike="noStrike" kern="1200" cap="none" spc="0" normalizeH="0" baseline="0" noProof="0" err="1">
                <a:ln>
                  <a:noFill/>
                </a:ln>
                <a:solidFill>
                  <a:prstClr val="black"/>
                </a:solidFill>
                <a:effectLst/>
                <a:uLnTx/>
                <a:uFillTx/>
                <a:latin typeface="DB Sans"/>
                <a:ea typeface="+mn-ea"/>
                <a:cs typeface="+mn-cs"/>
              </a:rPr>
              <a:t>What</a:t>
            </a:r>
            <a:r>
              <a:rPr kumimoji="0" lang="de-DE" sz="1400" b="1" i="0" u="none" strike="noStrike" kern="1200" cap="none" spc="0" normalizeH="0" baseline="0" noProof="0">
                <a:ln>
                  <a:noFill/>
                </a:ln>
                <a:solidFill>
                  <a:prstClr val="black"/>
                </a:solidFill>
                <a:effectLst/>
                <a:uLnTx/>
                <a:uFillTx/>
                <a:latin typeface="DB Sans"/>
                <a:ea typeface="+mn-ea"/>
                <a:cs typeface="+mn-cs"/>
              </a:rPr>
              <a:t> </a:t>
            </a:r>
            <a:r>
              <a:rPr kumimoji="0" lang="de-DE" sz="1400" b="1" i="0" u="none" strike="noStrike" kern="1200" cap="none" spc="0" normalizeH="0" baseline="0" noProof="0" err="1">
                <a:ln>
                  <a:noFill/>
                </a:ln>
                <a:solidFill>
                  <a:prstClr val="black"/>
                </a:solidFill>
                <a:effectLst/>
                <a:uLnTx/>
                <a:uFillTx/>
                <a:latin typeface="DB Sans"/>
                <a:ea typeface="+mn-ea"/>
                <a:cs typeface="+mn-cs"/>
              </a:rPr>
              <a:t>are</a:t>
            </a:r>
            <a:r>
              <a:rPr kumimoji="0" lang="de-DE" sz="1400" b="1" i="0" u="none" strike="noStrike" kern="1200" cap="none" spc="0" normalizeH="0" baseline="0" noProof="0">
                <a:ln>
                  <a:noFill/>
                </a:ln>
                <a:solidFill>
                  <a:prstClr val="black"/>
                </a:solidFill>
                <a:effectLst/>
                <a:uLnTx/>
                <a:uFillTx/>
                <a:latin typeface="DB Sans"/>
                <a:ea typeface="+mn-ea"/>
                <a:cs typeface="+mn-cs"/>
              </a:rPr>
              <a:t> </a:t>
            </a:r>
            <a:r>
              <a:rPr kumimoji="0" lang="de-DE" sz="1400" b="1" i="0" u="none" strike="noStrike" kern="1200" cap="none" spc="0" normalizeH="0" baseline="0" noProof="0" err="1">
                <a:ln>
                  <a:noFill/>
                </a:ln>
                <a:solidFill>
                  <a:prstClr val="black"/>
                </a:solidFill>
                <a:effectLst/>
                <a:uLnTx/>
                <a:uFillTx/>
                <a:latin typeface="DB Sans"/>
                <a:ea typeface="+mn-ea"/>
                <a:cs typeface="+mn-cs"/>
              </a:rPr>
              <a:t>the</a:t>
            </a:r>
            <a:r>
              <a:rPr kumimoji="0" lang="de-DE" sz="1400" b="1" i="0" u="none" strike="noStrike" kern="1200" cap="none" spc="0" normalizeH="0" baseline="0" noProof="0">
                <a:ln>
                  <a:noFill/>
                </a:ln>
                <a:solidFill>
                  <a:prstClr val="black"/>
                </a:solidFill>
                <a:effectLst/>
                <a:uLnTx/>
                <a:uFillTx/>
                <a:latin typeface="DB Sans"/>
                <a:ea typeface="+mn-ea"/>
                <a:cs typeface="+mn-cs"/>
              </a:rPr>
              <a:t> </a:t>
            </a:r>
            <a:r>
              <a:rPr kumimoji="0" lang="de-DE" sz="1400" b="1" i="0" u="none" strike="noStrike" kern="1200" cap="none" spc="0" normalizeH="0" baseline="0" noProof="0" err="1">
                <a:ln>
                  <a:noFill/>
                </a:ln>
                <a:solidFill>
                  <a:prstClr val="black"/>
                </a:solidFill>
                <a:effectLst/>
                <a:uLnTx/>
                <a:uFillTx/>
                <a:latin typeface="DB Sans"/>
                <a:ea typeface="+mn-ea"/>
                <a:cs typeface="+mn-cs"/>
              </a:rPr>
              <a:t>risks</a:t>
            </a:r>
            <a:r>
              <a:rPr kumimoji="0" lang="de-DE" sz="1400" b="1" i="0" u="none" strike="noStrike" kern="1200" cap="none" spc="0" normalizeH="0" baseline="0" noProof="0">
                <a:ln>
                  <a:noFill/>
                </a:ln>
                <a:solidFill>
                  <a:prstClr val="black"/>
                </a:solidFill>
                <a:effectLst/>
                <a:uLnTx/>
                <a:uFillTx/>
                <a:latin typeface="DB Sans"/>
                <a:ea typeface="+mn-ea"/>
                <a:cs typeface="+mn-cs"/>
              </a:rPr>
              <a:t>?</a:t>
            </a:r>
          </a:p>
        </p:txBody>
      </p:sp>
      <p:sp>
        <p:nvSpPr>
          <p:cNvPr id="48" name="Textbox">
            <a:extLst>
              <a:ext uri="{FF2B5EF4-FFF2-40B4-BE49-F238E27FC236}">
                <a16:creationId xmlns:a16="http://schemas.microsoft.com/office/drawing/2014/main" id="{5ECB201D-E99B-4B35-AD34-A90FA4923411}"/>
              </a:ext>
            </a:extLst>
          </p:cNvPr>
          <p:cNvSpPr txBox="1">
            <a:spLocks/>
          </p:cNvSpPr>
          <p:nvPr/>
        </p:nvSpPr>
        <p:spPr>
          <a:xfrm>
            <a:off x="2128204" y="2977118"/>
            <a:ext cx="1611001" cy="19332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600"/>
              </a:spcBef>
              <a:spcAft>
                <a:spcPts val="0"/>
              </a:spcAft>
              <a:buClr>
                <a:schemeClr val="accent2"/>
              </a:buClr>
              <a:buFontTx/>
              <a:buNone/>
              <a:defRPr sz="1600" kern="1200">
                <a:solidFill>
                  <a:schemeClr val="tx1"/>
                </a:solidFill>
                <a:latin typeface="+mn-lt"/>
                <a:ea typeface="+mn-ea"/>
                <a:cs typeface="+mn-cs"/>
              </a:defRPr>
            </a:lvl1pPr>
            <a:lvl2pPr marL="174625"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2pPr>
            <a:lvl3pPr marL="363538" indent="-1889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3pPr>
            <a:lvl4pPr marL="538163"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4pPr>
            <a:lvl5pPr marL="714375" indent="-1762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EC0016"/>
              </a:buClr>
              <a:buSzTx/>
              <a:buFontTx/>
              <a:buNone/>
              <a:tabLst/>
              <a:defRPr/>
            </a:pPr>
            <a:r>
              <a:rPr kumimoji="0" lang="en-US" sz="1400" b="1" i="0" u="none" strike="noStrike" kern="1200" cap="none" spc="0" normalizeH="0" baseline="0" noProof="0">
                <a:ln>
                  <a:noFill/>
                </a:ln>
                <a:solidFill>
                  <a:prstClr val="black"/>
                </a:solidFill>
                <a:effectLst/>
                <a:uLnTx/>
                <a:uFillTx/>
                <a:latin typeface="DB Sans"/>
                <a:ea typeface="+mn-ea"/>
                <a:cs typeface="+mn-cs"/>
              </a:rPr>
              <a:t>What is it and how does it work?</a:t>
            </a:r>
            <a:endParaRPr kumimoji="0" lang="de-DE" sz="1400" b="1" i="0" u="none" strike="noStrike" kern="1200" cap="none" spc="0" normalizeH="0" baseline="0" noProof="0">
              <a:ln>
                <a:noFill/>
              </a:ln>
              <a:solidFill>
                <a:prstClr val="black"/>
              </a:solidFill>
              <a:effectLst/>
              <a:uLnTx/>
              <a:uFillTx/>
              <a:latin typeface="DB Sans"/>
              <a:ea typeface="+mn-ea"/>
              <a:cs typeface="+mn-cs"/>
            </a:endParaRPr>
          </a:p>
        </p:txBody>
      </p:sp>
      <p:sp>
        <p:nvSpPr>
          <p:cNvPr id="49" name="Textbox">
            <a:extLst>
              <a:ext uri="{FF2B5EF4-FFF2-40B4-BE49-F238E27FC236}">
                <a16:creationId xmlns:a16="http://schemas.microsoft.com/office/drawing/2014/main" id="{21DC01A5-8135-4D7B-88AD-DBB2E0E8EF87}"/>
              </a:ext>
            </a:extLst>
          </p:cNvPr>
          <p:cNvSpPr txBox="1">
            <a:spLocks/>
          </p:cNvSpPr>
          <p:nvPr/>
        </p:nvSpPr>
        <p:spPr>
          <a:xfrm>
            <a:off x="7767607" y="3676319"/>
            <a:ext cx="3080921" cy="261636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600"/>
              </a:spcBef>
              <a:spcAft>
                <a:spcPts val="0"/>
              </a:spcAft>
              <a:buClr>
                <a:schemeClr val="accent2"/>
              </a:buClr>
              <a:buFontTx/>
              <a:buNone/>
              <a:defRPr sz="1600" kern="1200">
                <a:solidFill>
                  <a:schemeClr val="tx1"/>
                </a:solidFill>
                <a:latin typeface="+mn-lt"/>
                <a:ea typeface="+mn-ea"/>
                <a:cs typeface="+mn-cs"/>
              </a:defRPr>
            </a:lvl1pPr>
            <a:lvl2pPr marL="174625"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2pPr>
            <a:lvl3pPr marL="363538" indent="-1889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3pPr>
            <a:lvl4pPr marL="538163"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4pPr>
            <a:lvl5pPr marL="714375" indent="-1762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0"/>
              </a:spcAft>
              <a:buClr>
                <a:srgbClr val="EC0016"/>
              </a:buClr>
              <a:buSzTx/>
              <a:buFont typeface="DB Sans" panose="020B0502050202020204" pitchFamily="34" charset="0"/>
              <a:buNone/>
              <a:tabLst/>
              <a:defRPr/>
            </a:pPr>
            <a:r>
              <a:rPr kumimoji="0" lang="en-US" sz="1600" b="0" i="0" u="none" strike="noStrike" kern="1200" cap="none" spc="0" normalizeH="0" baseline="0" noProof="0">
                <a:ln>
                  <a:noFill/>
                </a:ln>
                <a:solidFill>
                  <a:prstClr val="black"/>
                </a:solidFill>
                <a:effectLst/>
                <a:uLnTx/>
                <a:uFillTx/>
                <a:latin typeface="DB Sans"/>
                <a:ea typeface="+mn-ea"/>
                <a:cs typeface="+mn-cs"/>
              </a:rPr>
              <a:t>It is not advisable to consume more than 400 mg (3-4 cups) per day. Also, caffeine should not be used regularly as a wake-up aid.</a:t>
            </a:r>
          </a:p>
          <a:p>
            <a:pPr marL="0" marR="0" lvl="1" indent="0" algn="l" defTabSz="914400" rtl="0" eaLnBrk="1" fontAlgn="auto" latinLnBrk="0" hangingPunct="1">
              <a:lnSpc>
                <a:spcPct val="100000"/>
              </a:lnSpc>
              <a:spcBef>
                <a:spcPts val="600"/>
              </a:spcBef>
              <a:spcAft>
                <a:spcPts val="0"/>
              </a:spcAft>
              <a:buClr>
                <a:srgbClr val="EC0016"/>
              </a:buClr>
              <a:buSzTx/>
              <a:buFont typeface="DB Sans" panose="020B0502050202020204" pitchFamily="34" charset="0"/>
              <a:buNone/>
              <a:tabLst/>
              <a:defRPr/>
            </a:pPr>
            <a:r>
              <a:rPr kumimoji="0" lang="en-US" sz="1600" b="0" i="0" u="none" strike="noStrike" kern="1200" cap="none" spc="0" normalizeH="0" baseline="0" noProof="0">
                <a:ln>
                  <a:noFill/>
                </a:ln>
                <a:solidFill>
                  <a:prstClr val="black"/>
                </a:solidFill>
                <a:effectLst/>
                <a:uLnTx/>
                <a:uFillTx/>
                <a:latin typeface="DB Sans"/>
                <a:ea typeface="+mn-ea"/>
                <a:cs typeface="+mn-cs"/>
              </a:rPr>
              <a:t>In order not to disturb recovery, no more caffeine should be consumed in the 6 hours before going to bed.</a:t>
            </a:r>
          </a:p>
        </p:txBody>
      </p:sp>
      <p:sp>
        <p:nvSpPr>
          <p:cNvPr id="50" name="Textbox">
            <a:extLst>
              <a:ext uri="{FF2B5EF4-FFF2-40B4-BE49-F238E27FC236}">
                <a16:creationId xmlns:a16="http://schemas.microsoft.com/office/drawing/2014/main" id="{6046BCE1-047C-40A5-BBE6-8F5C6F47C982}"/>
              </a:ext>
            </a:extLst>
          </p:cNvPr>
          <p:cNvSpPr txBox="1">
            <a:spLocks/>
          </p:cNvSpPr>
          <p:nvPr/>
        </p:nvSpPr>
        <p:spPr>
          <a:xfrm>
            <a:off x="4626522" y="3676319"/>
            <a:ext cx="2857029" cy="219188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600"/>
              </a:spcBef>
              <a:spcAft>
                <a:spcPts val="0"/>
              </a:spcAft>
              <a:buClr>
                <a:schemeClr val="accent2"/>
              </a:buClr>
              <a:buFontTx/>
              <a:buNone/>
              <a:defRPr sz="1600" kern="1200">
                <a:solidFill>
                  <a:schemeClr val="tx1"/>
                </a:solidFill>
                <a:latin typeface="+mn-lt"/>
                <a:ea typeface="+mn-ea"/>
                <a:cs typeface="+mn-cs"/>
              </a:defRPr>
            </a:lvl1pPr>
            <a:lvl2pPr marL="174625"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2pPr>
            <a:lvl3pPr marL="363538" indent="-1889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3pPr>
            <a:lvl4pPr marL="538163"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4pPr>
            <a:lvl5pPr marL="714375" indent="-1762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0"/>
              </a:spcAft>
              <a:buClr>
                <a:srgbClr val="EC0016"/>
              </a:buClr>
              <a:buSzTx/>
              <a:buFont typeface="DB Sans" panose="020B0502050202020204" pitchFamily="34" charset="0"/>
              <a:buNone/>
              <a:tabLst/>
              <a:defRPr/>
            </a:pPr>
            <a:r>
              <a:rPr kumimoji="0" lang="en-US" sz="1600" b="0" i="0" u="none" strike="noStrike" kern="1200" cap="none" spc="0" normalizeH="0" baseline="0" noProof="0">
                <a:ln>
                  <a:noFill/>
                </a:ln>
                <a:solidFill>
                  <a:prstClr val="black"/>
                </a:solidFill>
                <a:effectLst/>
                <a:uLnTx/>
                <a:uFillTx/>
                <a:latin typeface="DB Sans"/>
                <a:ea typeface="+mn-ea"/>
                <a:cs typeface="+mn-cs"/>
              </a:rPr>
              <a:t>Caffeine increases alertness and attention levels by blocking fatiguing neurotransmitters in the brain.</a:t>
            </a:r>
          </a:p>
          <a:p>
            <a:pPr marL="0" marR="0" lvl="1" indent="0" algn="l" defTabSz="914400" rtl="0" eaLnBrk="1" fontAlgn="auto" latinLnBrk="0" hangingPunct="1">
              <a:lnSpc>
                <a:spcPct val="100000"/>
              </a:lnSpc>
              <a:spcBef>
                <a:spcPts val="600"/>
              </a:spcBef>
              <a:spcAft>
                <a:spcPts val="0"/>
              </a:spcAft>
              <a:buClr>
                <a:srgbClr val="EC0016"/>
              </a:buClr>
              <a:buSzTx/>
              <a:buFont typeface="DB Sans" panose="020B0502050202020204" pitchFamily="34" charset="0"/>
              <a:buNone/>
              <a:tabLst/>
              <a:defRPr/>
            </a:pPr>
            <a:r>
              <a:rPr kumimoji="0" lang="en-US" sz="1600" b="0" i="0" u="none" strike="noStrike" kern="1200" cap="none" spc="0" normalizeH="0" baseline="0" noProof="0">
                <a:ln>
                  <a:noFill/>
                </a:ln>
                <a:solidFill>
                  <a:prstClr val="black"/>
                </a:solidFill>
                <a:effectLst/>
                <a:uLnTx/>
                <a:uFillTx/>
                <a:latin typeface="DB Sans"/>
                <a:ea typeface="+mn-ea"/>
                <a:cs typeface="+mn-cs"/>
              </a:rPr>
              <a:t>The effect occurs about 30 minutes after consumption and decreases over time.</a:t>
            </a:r>
          </a:p>
          <a:p>
            <a:pPr marL="0" marR="0" lvl="1" indent="0" algn="l" defTabSz="914400" rtl="0" eaLnBrk="1" fontAlgn="auto" latinLnBrk="0" hangingPunct="1">
              <a:lnSpc>
                <a:spcPct val="100000"/>
              </a:lnSpc>
              <a:spcBef>
                <a:spcPts val="600"/>
              </a:spcBef>
              <a:spcAft>
                <a:spcPts val="0"/>
              </a:spcAft>
              <a:buClr>
                <a:srgbClr val="EC0016"/>
              </a:buClr>
              <a:buSzTx/>
              <a:buFont typeface="DB Sans" panose="020B0502050202020204" pitchFamily="34" charset="0"/>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p:txBody>
      </p:sp>
      <p:sp>
        <p:nvSpPr>
          <p:cNvPr id="51" name="Textbox">
            <a:extLst>
              <a:ext uri="{FF2B5EF4-FFF2-40B4-BE49-F238E27FC236}">
                <a16:creationId xmlns:a16="http://schemas.microsoft.com/office/drawing/2014/main" id="{BF109DE2-F9D5-4C73-9C04-608C77E6E1C2}"/>
              </a:ext>
            </a:extLst>
          </p:cNvPr>
          <p:cNvSpPr txBox="1">
            <a:spLocks/>
          </p:cNvSpPr>
          <p:nvPr/>
        </p:nvSpPr>
        <p:spPr>
          <a:xfrm>
            <a:off x="1421762" y="3676320"/>
            <a:ext cx="2920704" cy="268701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600"/>
              </a:spcBef>
              <a:spcAft>
                <a:spcPts val="0"/>
              </a:spcAft>
              <a:buClr>
                <a:schemeClr val="accent2"/>
              </a:buClr>
              <a:buFontTx/>
              <a:buNone/>
              <a:defRPr sz="1600" kern="1200">
                <a:solidFill>
                  <a:schemeClr val="tx1"/>
                </a:solidFill>
                <a:latin typeface="+mn-lt"/>
                <a:ea typeface="+mn-ea"/>
                <a:cs typeface="+mn-cs"/>
              </a:defRPr>
            </a:lvl1pPr>
            <a:lvl2pPr marL="174625"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2pPr>
            <a:lvl3pPr marL="363538" indent="-1889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3pPr>
            <a:lvl4pPr marL="538163" indent="-174625"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4pPr>
            <a:lvl5pPr marL="714375" indent="-176213" algn="l" defTabSz="914400" rtl="0" eaLnBrk="1" latinLnBrk="0" hangingPunct="1">
              <a:lnSpc>
                <a:spcPct val="100000"/>
              </a:lnSpc>
              <a:spcBef>
                <a:spcPts val="600"/>
              </a:spcBef>
              <a:spcAft>
                <a:spcPts val="0"/>
              </a:spcAft>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600"/>
              </a:spcBef>
              <a:spcAft>
                <a:spcPts val="0"/>
              </a:spcAft>
              <a:buClr>
                <a:srgbClr val="EC0016"/>
              </a:buClr>
              <a:buSzTx/>
              <a:buFont typeface="DB Sans" panose="020B0502050202020204" pitchFamily="34" charset="0"/>
              <a:buNone/>
              <a:tabLst/>
              <a:defRPr/>
            </a:pPr>
            <a:r>
              <a:rPr kumimoji="0" lang="en-US" sz="1600" b="0" i="0" u="none" strike="noStrike" kern="1200" cap="none" spc="0" normalizeH="0" baseline="0" noProof="0">
                <a:ln>
                  <a:noFill/>
                </a:ln>
                <a:solidFill>
                  <a:prstClr val="black"/>
                </a:solidFill>
                <a:effectLst/>
                <a:uLnTx/>
                <a:uFillTx/>
                <a:latin typeface="DB Sans"/>
                <a:ea typeface="+mn-ea"/>
                <a:cs typeface="+mn-cs"/>
              </a:rPr>
              <a:t>Drinking caffeinated beverages can help you counteract the effects of fatigue.</a:t>
            </a:r>
          </a:p>
          <a:p>
            <a:pPr marL="0" marR="0" lvl="1" indent="0" algn="l" defTabSz="914400" rtl="0" eaLnBrk="1" fontAlgn="auto" latinLnBrk="0" hangingPunct="1">
              <a:lnSpc>
                <a:spcPct val="100000"/>
              </a:lnSpc>
              <a:spcBef>
                <a:spcPts val="600"/>
              </a:spcBef>
              <a:spcAft>
                <a:spcPts val="0"/>
              </a:spcAft>
              <a:buClr>
                <a:srgbClr val="EC0016"/>
              </a:buClr>
              <a:buSzTx/>
              <a:buFont typeface="DB Sans" panose="020B0502050202020204" pitchFamily="34" charset="0"/>
              <a:buNone/>
              <a:tabLst/>
              <a:defRPr/>
            </a:pPr>
            <a:r>
              <a:rPr kumimoji="0" lang="en-US" sz="1600" b="0" i="0" u="none" strike="noStrike" kern="1200" cap="none" spc="0" normalizeH="0" baseline="0" noProof="0">
                <a:ln>
                  <a:noFill/>
                </a:ln>
                <a:solidFill>
                  <a:prstClr val="black"/>
                </a:solidFill>
                <a:effectLst/>
                <a:uLnTx/>
                <a:uFillTx/>
                <a:latin typeface="DB Sans"/>
                <a:ea typeface="+mn-ea"/>
                <a:cs typeface="+mn-cs"/>
              </a:rPr>
              <a:t>Coffee and tea (e.g. black tea, green tea) can be used for this purpose. Energy drinks can also boost your concentration, but are not recommended due to the high sugar and caffeine content.</a:t>
            </a:r>
            <a:endParaRPr kumimoji="0" lang="de-DE" sz="1600" b="0" i="0" u="none" strike="noStrike" kern="1200" cap="none" spc="0" normalizeH="0" baseline="0" noProof="0">
              <a:ln>
                <a:noFill/>
              </a:ln>
              <a:solidFill>
                <a:prstClr val="black"/>
              </a:solidFill>
              <a:effectLst/>
              <a:uLnTx/>
              <a:uFillTx/>
              <a:latin typeface="DB Sans"/>
              <a:ea typeface="+mn-ea"/>
              <a:cs typeface="+mn-cs"/>
            </a:endParaRPr>
          </a:p>
        </p:txBody>
      </p:sp>
      <p:grpSp>
        <p:nvGrpSpPr>
          <p:cNvPr id="52" name="easyIcon">
            <a:extLst>
              <a:ext uri="{FF2B5EF4-FFF2-40B4-BE49-F238E27FC236}">
                <a16:creationId xmlns:a16="http://schemas.microsoft.com/office/drawing/2014/main" id="{0157F1C4-BC24-46BD-BAEA-161091C09391}"/>
              </a:ext>
            </a:extLst>
          </p:cNvPr>
          <p:cNvGrpSpPr>
            <a:grpSpLocks noChangeAspect="1"/>
          </p:cNvGrpSpPr>
          <p:nvPr>
            <p:custDataLst>
              <p:tags r:id="rId2"/>
            </p:custDataLst>
          </p:nvPr>
        </p:nvGrpSpPr>
        <p:grpSpPr>
          <a:xfrm>
            <a:off x="5760172" y="2164928"/>
            <a:ext cx="540000" cy="540000"/>
            <a:chOff x="2992544" y="2211256"/>
            <a:chExt cx="446281" cy="446281"/>
          </a:xfrm>
        </p:grpSpPr>
        <p:sp>
          <p:nvSpPr>
            <p:cNvPr id="53" name="Background">
              <a:extLst>
                <a:ext uri="{FF2B5EF4-FFF2-40B4-BE49-F238E27FC236}">
                  <a16:creationId xmlns:a16="http://schemas.microsoft.com/office/drawing/2014/main" id="{11CAD618-0F3D-4A45-B20D-205A20EEFCBE}"/>
                </a:ext>
              </a:extLst>
            </p:cNvPr>
            <p:cNvSpPr/>
            <p:nvPr/>
          </p:nvSpPr>
          <p:spPr>
            <a:xfrm>
              <a:off x="2992544" y="2211256"/>
              <a:ext cx="446281" cy="446281"/>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54" name="Vector">
              <a:extLst>
                <a:ext uri="{FF2B5EF4-FFF2-40B4-BE49-F238E27FC236}">
                  <a16:creationId xmlns:a16="http://schemas.microsoft.com/office/drawing/2014/main" id="{22141037-C84A-434F-8DFD-0E1DCDAD383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01371" y="2220083"/>
              <a:ext cx="428625" cy="428625"/>
            </a:xfrm>
            <a:prstGeom prst="rect">
              <a:avLst/>
            </a:prstGeom>
          </p:spPr>
        </p:pic>
      </p:grpSp>
      <p:grpSp>
        <p:nvGrpSpPr>
          <p:cNvPr id="55" name="easyIcon">
            <a:extLst>
              <a:ext uri="{FF2B5EF4-FFF2-40B4-BE49-F238E27FC236}">
                <a16:creationId xmlns:a16="http://schemas.microsoft.com/office/drawing/2014/main" id="{BF8886C3-8D6E-4A20-A895-F0ABCF101245}"/>
              </a:ext>
            </a:extLst>
          </p:cNvPr>
          <p:cNvGrpSpPr>
            <a:grpSpLocks noChangeAspect="1"/>
          </p:cNvGrpSpPr>
          <p:nvPr>
            <p:custDataLst>
              <p:tags r:id="rId3"/>
            </p:custDataLst>
          </p:nvPr>
        </p:nvGrpSpPr>
        <p:grpSpPr>
          <a:xfrm>
            <a:off x="8416642" y="2189421"/>
            <a:ext cx="574946" cy="540000"/>
            <a:chOff x="1840418" y="2211256"/>
            <a:chExt cx="475162" cy="446281"/>
          </a:xfrm>
        </p:grpSpPr>
        <p:sp>
          <p:nvSpPr>
            <p:cNvPr id="56" name="Background">
              <a:extLst>
                <a:ext uri="{FF2B5EF4-FFF2-40B4-BE49-F238E27FC236}">
                  <a16:creationId xmlns:a16="http://schemas.microsoft.com/office/drawing/2014/main" id="{BCFE0352-ED4F-4B9D-BE4C-52282973A57F}"/>
                </a:ext>
              </a:extLst>
            </p:cNvPr>
            <p:cNvSpPr/>
            <p:nvPr/>
          </p:nvSpPr>
          <p:spPr>
            <a:xfrm>
              <a:off x="1840418" y="2211256"/>
              <a:ext cx="446281" cy="44628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57" name="Vector">
              <a:extLst>
                <a:ext uri="{FF2B5EF4-FFF2-40B4-BE49-F238E27FC236}">
                  <a16:creationId xmlns:a16="http://schemas.microsoft.com/office/drawing/2014/main" id="{3ED106FE-439B-4BAE-8C6A-4601CA0C5963}"/>
                </a:ext>
              </a:extLst>
            </p:cNvPr>
            <p:cNvPicPr>
              <a:picLocks noChangeAspect="1"/>
            </p:cNvPicPr>
            <p:nvPr>
              <p:custDataLst>
                <p:tags r:id="rId6"/>
              </p:custDataLst>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a:fillRect/>
            </a:stretch>
          </p:blipFill>
          <p:spPr>
            <a:xfrm>
              <a:off x="1886955" y="2220083"/>
              <a:ext cx="428625" cy="428625"/>
            </a:xfrm>
            <a:prstGeom prst="rect">
              <a:avLst/>
            </a:prstGeom>
          </p:spPr>
        </p:pic>
      </p:grpSp>
      <p:grpSp>
        <p:nvGrpSpPr>
          <p:cNvPr id="58" name="easyIcon">
            <a:extLst>
              <a:ext uri="{FF2B5EF4-FFF2-40B4-BE49-F238E27FC236}">
                <a16:creationId xmlns:a16="http://schemas.microsoft.com/office/drawing/2014/main" id="{5FB1C6B2-F591-449E-BEB6-0836AE2A6652}"/>
              </a:ext>
            </a:extLst>
          </p:cNvPr>
          <p:cNvGrpSpPr>
            <a:grpSpLocks noChangeAspect="1"/>
          </p:cNvGrpSpPr>
          <p:nvPr>
            <p:custDataLst>
              <p:tags r:id="rId4"/>
            </p:custDataLst>
          </p:nvPr>
        </p:nvGrpSpPr>
        <p:grpSpPr>
          <a:xfrm>
            <a:off x="2591702" y="2113163"/>
            <a:ext cx="648000" cy="648000"/>
            <a:chOff x="688291" y="3799895"/>
            <a:chExt cx="446281" cy="446281"/>
          </a:xfrm>
        </p:grpSpPr>
        <p:sp>
          <p:nvSpPr>
            <p:cNvPr id="59" name="Background">
              <a:extLst>
                <a:ext uri="{FF2B5EF4-FFF2-40B4-BE49-F238E27FC236}">
                  <a16:creationId xmlns:a16="http://schemas.microsoft.com/office/drawing/2014/main" id="{CEB2B390-4D6B-4560-908F-EA77AD0B31D7}"/>
                </a:ext>
              </a:extLst>
            </p:cNvPr>
            <p:cNvSpPr/>
            <p:nvPr/>
          </p:nvSpPr>
          <p:spPr>
            <a:xfrm>
              <a:off x="688291" y="3799895"/>
              <a:ext cx="446281" cy="44628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2700"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sp>
          <p:nvSpPr>
            <p:cNvPr id="60" name="Vector">
              <a:extLst>
                <a:ext uri="{FF2B5EF4-FFF2-40B4-BE49-F238E27FC236}">
                  <a16:creationId xmlns:a16="http://schemas.microsoft.com/office/drawing/2014/main" id="{DF5D610C-42AB-4810-BE5E-D24A338BBC5E}"/>
                </a:ext>
              </a:extLst>
            </p:cNvPr>
            <p:cNvSpPr>
              <a:spLocks noChangeAspect="1"/>
            </p:cNvSpPr>
            <p:nvPr/>
          </p:nvSpPr>
          <p:spPr>
            <a:xfrm>
              <a:off x="779058" y="3821754"/>
              <a:ext cx="264746" cy="402561"/>
            </a:xfrm>
            <a:custGeom>
              <a:avLst/>
              <a:gdLst>
                <a:gd name="connsiteX0" fmla="*/ 89486 w 264746"/>
                <a:gd name="connsiteY0" fmla="*/ 373129 h 402561"/>
                <a:gd name="connsiteX1" fmla="*/ 89486 w 264746"/>
                <a:gd name="connsiteY1" fmla="*/ 383511 h 402561"/>
                <a:gd name="connsiteX2" fmla="*/ 171782 w 264746"/>
                <a:gd name="connsiteY2" fmla="*/ 383511 h 402561"/>
                <a:gd name="connsiteX3" fmla="*/ 171782 w 264746"/>
                <a:gd name="connsiteY3" fmla="*/ 373129 h 402561"/>
                <a:gd name="connsiteX4" fmla="*/ 45766 w 264746"/>
                <a:gd name="connsiteY4" fmla="*/ 307978 h 402561"/>
                <a:gd name="connsiteX5" fmla="*/ 68626 w 264746"/>
                <a:gd name="connsiteY5" fmla="*/ 347888 h 402561"/>
                <a:gd name="connsiteX6" fmla="*/ 77484 w 264746"/>
                <a:gd name="connsiteY6" fmla="*/ 354079 h 402561"/>
                <a:gd name="connsiteX7" fmla="*/ 184545 w 264746"/>
                <a:gd name="connsiteY7" fmla="*/ 354079 h 402561"/>
                <a:gd name="connsiteX8" fmla="*/ 214359 w 264746"/>
                <a:gd name="connsiteY8" fmla="*/ 309026 h 402561"/>
                <a:gd name="connsiteX9" fmla="*/ 131586 w 264746"/>
                <a:gd name="connsiteY9" fmla="*/ 325409 h 402561"/>
                <a:gd name="connsiteX10" fmla="*/ 45766 w 264746"/>
                <a:gd name="connsiteY10" fmla="*/ 307978 h 402561"/>
                <a:gd name="connsiteX11" fmla="*/ 192547 w 264746"/>
                <a:gd name="connsiteY11" fmla="*/ 230635 h 402561"/>
                <a:gd name="connsiteX12" fmla="*/ 196642 w 264746"/>
                <a:gd name="connsiteY12" fmla="*/ 243493 h 402561"/>
                <a:gd name="connsiteX13" fmla="*/ 182831 w 264746"/>
                <a:gd name="connsiteY13" fmla="*/ 270163 h 402561"/>
                <a:gd name="connsiteX14" fmla="*/ 174354 w 264746"/>
                <a:gd name="connsiteY14" fmla="*/ 275307 h 402561"/>
                <a:gd name="connsiteX15" fmla="*/ 169972 w 264746"/>
                <a:gd name="connsiteY15" fmla="*/ 274259 h 402561"/>
                <a:gd name="connsiteX16" fmla="*/ 165877 w 264746"/>
                <a:gd name="connsiteY16" fmla="*/ 261400 h 402561"/>
                <a:gd name="connsiteX17" fmla="*/ 179688 w 264746"/>
                <a:gd name="connsiteY17" fmla="*/ 234730 h 402561"/>
                <a:gd name="connsiteX18" fmla="*/ 192547 w 264746"/>
                <a:gd name="connsiteY18" fmla="*/ 230635 h 402561"/>
                <a:gd name="connsiteX19" fmla="*/ 68626 w 264746"/>
                <a:gd name="connsiteY19" fmla="*/ 230635 h 402561"/>
                <a:gd name="connsiteX20" fmla="*/ 81485 w 264746"/>
                <a:gd name="connsiteY20" fmla="*/ 234730 h 402561"/>
                <a:gd name="connsiteX21" fmla="*/ 95296 w 264746"/>
                <a:gd name="connsiteY21" fmla="*/ 261400 h 402561"/>
                <a:gd name="connsiteX22" fmla="*/ 91201 w 264746"/>
                <a:gd name="connsiteY22" fmla="*/ 274259 h 402561"/>
                <a:gd name="connsiteX23" fmla="*/ 86819 w 264746"/>
                <a:gd name="connsiteY23" fmla="*/ 275307 h 402561"/>
                <a:gd name="connsiteX24" fmla="*/ 78342 w 264746"/>
                <a:gd name="connsiteY24" fmla="*/ 270163 h 402561"/>
                <a:gd name="connsiteX25" fmla="*/ 64531 w 264746"/>
                <a:gd name="connsiteY25" fmla="*/ 243493 h 402561"/>
                <a:gd name="connsiteX26" fmla="*/ 68626 w 264746"/>
                <a:gd name="connsiteY26" fmla="*/ 230635 h 402561"/>
                <a:gd name="connsiteX27" fmla="*/ 130730 w 264746"/>
                <a:gd name="connsiteY27" fmla="*/ 82152 h 402561"/>
                <a:gd name="connsiteX28" fmla="*/ 77294 w 264746"/>
                <a:gd name="connsiteY28" fmla="*/ 97476 h 402561"/>
                <a:gd name="connsiteX29" fmla="*/ 75008 w 264746"/>
                <a:gd name="connsiteY29" fmla="*/ 152911 h 402561"/>
                <a:gd name="connsiteX30" fmla="*/ 131206 w 264746"/>
                <a:gd name="connsiteY30" fmla="*/ 179867 h 402561"/>
                <a:gd name="connsiteX31" fmla="*/ 187689 w 264746"/>
                <a:gd name="connsiteY31" fmla="*/ 153102 h 402561"/>
                <a:gd name="connsiteX32" fmla="*/ 193785 w 264746"/>
                <a:gd name="connsiteY32" fmla="*/ 117764 h 402561"/>
                <a:gd name="connsiteX33" fmla="*/ 186927 w 264746"/>
                <a:gd name="connsiteY33" fmla="*/ 98714 h 402561"/>
                <a:gd name="connsiteX34" fmla="*/ 186451 w 264746"/>
                <a:gd name="connsiteY34" fmla="*/ 98333 h 402561"/>
                <a:gd name="connsiteX35" fmla="*/ 130730 w 264746"/>
                <a:gd name="connsiteY35" fmla="*/ 82152 h 402561"/>
                <a:gd name="connsiteX36" fmla="*/ 129503 w 264746"/>
                <a:gd name="connsiteY36" fmla="*/ 62757 h 402561"/>
                <a:gd name="connsiteX37" fmla="*/ 198166 w 264746"/>
                <a:gd name="connsiteY37" fmla="*/ 83188 h 402561"/>
                <a:gd name="connsiteX38" fmla="*/ 212549 w 264746"/>
                <a:gd name="connsiteY38" fmla="*/ 114144 h 402561"/>
                <a:gd name="connsiteX39" fmla="*/ 202834 w 264746"/>
                <a:gd name="connsiteY39" fmla="*/ 164532 h 402561"/>
                <a:gd name="connsiteX40" fmla="*/ 131872 w 264746"/>
                <a:gd name="connsiteY40" fmla="*/ 198917 h 402561"/>
                <a:gd name="connsiteX41" fmla="*/ 130539 w 264746"/>
                <a:gd name="connsiteY41" fmla="*/ 198917 h 402561"/>
                <a:gd name="connsiteX42" fmla="*/ 59863 w 264746"/>
                <a:gd name="connsiteY42" fmla="*/ 164436 h 402561"/>
                <a:gd name="connsiteX43" fmla="*/ 63197 w 264746"/>
                <a:gd name="connsiteY43" fmla="*/ 84617 h 402561"/>
                <a:gd name="connsiteX44" fmla="*/ 64054 w 264746"/>
                <a:gd name="connsiteY44" fmla="*/ 83760 h 402561"/>
                <a:gd name="connsiteX45" fmla="*/ 129503 w 264746"/>
                <a:gd name="connsiteY45" fmla="*/ 62757 h 402561"/>
                <a:gd name="connsiteX46" fmla="*/ 136063 w 264746"/>
                <a:gd name="connsiteY46" fmla="*/ 19085 h 402561"/>
                <a:gd name="connsiteX47" fmla="*/ 19572 w 264746"/>
                <a:gd name="connsiteY47" fmla="*/ 112811 h 402561"/>
                <a:gd name="connsiteX48" fmla="*/ 37575 w 264746"/>
                <a:gd name="connsiteY48" fmla="*/ 284451 h 402561"/>
                <a:gd name="connsiteX49" fmla="*/ 39289 w 264746"/>
                <a:gd name="connsiteY49" fmla="*/ 285023 h 402561"/>
                <a:gd name="connsiteX50" fmla="*/ 223122 w 264746"/>
                <a:gd name="connsiteY50" fmla="*/ 285118 h 402561"/>
                <a:gd name="connsiteX51" fmla="*/ 245696 w 264746"/>
                <a:gd name="connsiteY51" fmla="*/ 112906 h 402561"/>
                <a:gd name="connsiteX52" fmla="*/ 136063 w 264746"/>
                <a:gd name="connsiteY52" fmla="*/ 19085 h 402561"/>
                <a:gd name="connsiteX53" fmla="*/ 136825 w 264746"/>
                <a:gd name="connsiteY53" fmla="*/ 130 h 402561"/>
                <a:gd name="connsiteX54" fmla="*/ 264651 w 264746"/>
                <a:gd name="connsiteY54" fmla="*/ 110906 h 402561"/>
                <a:gd name="connsiteX55" fmla="*/ 264746 w 264746"/>
                <a:gd name="connsiteY55" fmla="*/ 112239 h 402561"/>
                <a:gd name="connsiteX56" fmla="*/ 190737 w 264746"/>
                <a:gd name="connsiteY56" fmla="*/ 371796 h 402561"/>
                <a:gd name="connsiteX57" fmla="*/ 190832 w 264746"/>
                <a:gd name="connsiteY57" fmla="*/ 372462 h 402561"/>
                <a:gd name="connsiteX58" fmla="*/ 190832 w 264746"/>
                <a:gd name="connsiteY58" fmla="*/ 383511 h 402561"/>
                <a:gd name="connsiteX59" fmla="*/ 247315 w 264746"/>
                <a:gd name="connsiteY59" fmla="*/ 383511 h 402561"/>
                <a:gd name="connsiteX60" fmla="*/ 256840 w 264746"/>
                <a:gd name="connsiteY60" fmla="*/ 393036 h 402561"/>
                <a:gd name="connsiteX61" fmla="*/ 247315 w 264746"/>
                <a:gd name="connsiteY61" fmla="*/ 402561 h 402561"/>
                <a:gd name="connsiteX62" fmla="*/ 15381 w 264746"/>
                <a:gd name="connsiteY62" fmla="*/ 402561 h 402561"/>
                <a:gd name="connsiteX63" fmla="*/ 5856 w 264746"/>
                <a:gd name="connsiteY63" fmla="*/ 393036 h 402561"/>
                <a:gd name="connsiteX64" fmla="*/ 15381 w 264746"/>
                <a:gd name="connsiteY64" fmla="*/ 383511 h 402561"/>
                <a:gd name="connsiteX65" fmla="*/ 70436 w 264746"/>
                <a:gd name="connsiteY65" fmla="*/ 383511 h 402561"/>
                <a:gd name="connsiteX66" fmla="*/ 70436 w 264746"/>
                <a:gd name="connsiteY66" fmla="*/ 372462 h 402561"/>
                <a:gd name="connsiteX67" fmla="*/ 70531 w 264746"/>
                <a:gd name="connsiteY67" fmla="*/ 371891 h 402561"/>
                <a:gd name="connsiteX68" fmla="*/ 54910 w 264746"/>
                <a:gd name="connsiteY68" fmla="*/ 361032 h 402561"/>
                <a:gd name="connsiteX69" fmla="*/ 522 w 264746"/>
                <a:gd name="connsiteY69" fmla="*/ 111191 h 402561"/>
                <a:gd name="connsiteX70" fmla="*/ 713 w 264746"/>
                <a:gd name="connsiteY70" fmla="*/ 109477 h 402561"/>
                <a:gd name="connsiteX71" fmla="*/ 136825 w 264746"/>
                <a:gd name="connsiteY71" fmla="*/ 130 h 40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64746" h="402561">
                  <a:moveTo>
                    <a:pt x="89486" y="373129"/>
                  </a:moveTo>
                  <a:lnTo>
                    <a:pt x="89486" y="383511"/>
                  </a:lnTo>
                  <a:lnTo>
                    <a:pt x="171782" y="383511"/>
                  </a:lnTo>
                  <a:lnTo>
                    <a:pt x="171782" y="373129"/>
                  </a:lnTo>
                  <a:close/>
                  <a:moveTo>
                    <a:pt x="45766" y="307978"/>
                  </a:moveTo>
                  <a:cubicBezTo>
                    <a:pt x="53767" y="327885"/>
                    <a:pt x="62054" y="341030"/>
                    <a:pt x="68626" y="347888"/>
                  </a:cubicBezTo>
                  <a:cubicBezTo>
                    <a:pt x="74436" y="353984"/>
                    <a:pt x="77484" y="354079"/>
                    <a:pt x="77484" y="354079"/>
                  </a:cubicBezTo>
                  <a:lnTo>
                    <a:pt x="184545" y="354079"/>
                  </a:lnTo>
                  <a:cubicBezTo>
                    <a:pt x="189498" y="351507"/>
                    <a:pt x="201976" y="338268"/>
                    <a:pt x="214359" y="309026"/>
                  </a:cubicBezTo>
                  <a:cubicBezTo>
                    <a:pt x="185022" y="319980"/>
                    <a:pt x="158352" y="325409"/>
                    <a:pt x="131586" y="325409"/>
                  </a:cubicBezTo>
                  <a:cubicBezTo>
                    <a:pt x="104059" y="325409"/>
                    <a:pt x="76437" y="319599"/>
                    <a:pt x="45766" y="307978"/>
                  </a:cubicBezTo>
                  <a:close/>
                  <a:moveTo>
                    <a:pt x="192547" y="230635"/>
                  </a:moveTo>
                  <a:cubicBezTo>
                    <a:pt x="197214" y="233016"/>
                    <a:pt x="199024" y="238826"/>
                    <a:pt x="196642" y="243493"/>
                  </a:cubicBezTo>
                  <a:lnTo>
                    <a:pt x="182831" y="270163"/>
                  </a:lnTo>
                  <a:cubicBezTo>
                    <a:pt x="181212" y="273402"/>
                    <a:pt x="177878" y="275307"/>
                    <a:pt x="174354" y="275307"/>
                  </a:cubicBezTo>
                  <a:cubicBezTo>
                    <a:pt x="172925" y="275307"/>
                    <a:pt x="171401" y="274926"/>
                    <a:pt x="169972" y="274259"/>
                  </a:cubicBezTo>
                  <a:cubicBezTo>
                    <a:pt x="165305" y="271878"/>
                    <a:pt x="163495" y="266068"/>
                    <a:pt x="165877" y="261400"/>
                  </a:cubicBezTo>
                  <a:lnTo>
                    <a:pt x="179688" y="234730"/>
                  </a:lnTo>
                  <a:cubicBezTo>
                    <a:pt x="182069" y="230063"/>
                    <a:pt x="187879" y="228253"/>
                    <a:pt x="192547" y="230635"/>
                  </a:cubicBezTo>
                  <a:close/>
                  <a:moveTo>
                    <a:pt x="68626" y="230635"/>
                  </a:moveTo>
                  <a:cubicBezTo>
                    <a:pt x="73294" y="228253"/>
                    <a:pt x="79009" y="230063"/>
                    <a:pt x="81485" y="234730"/>
                  </a:cubicBezTo>
                  <a:lnTo>
                    <a:pt x="95296" y="261400"/>
                  </a:lnTo>
                  <a:cubicBezTo>
                    <a:pt x="97678" y="266068"/>
                    <a:pt x="95868" y="271783"/>
                    <a:pt x="91201" y="274259"/>
                  </a:cubicBezTo>
                  <a:cubicBezTo>
                    <a:pt x="89772" y="274926"/>
                    <a:pt x="88343" y="275307"/>
                    <a:pt x="86819" y="275307"/>
                  </a:cubicBezTo>
                  <a:cubicBezTo>
                    <a:pt x="83390" y="275307"/>
                    <a:pt x="80056" y="273402"/>
                    <a:pt x="78342" y="270163"/>
                  </a:cubicBezTo>
                  <a:lnTo>
                    <a:pt x="64531" y="243493"/>
                  </a:lnTo>
                  <a:cubicBezTo>
                    <a:pt x="62149" y="238826"/>
                    <a:pt x="63959" y="233111"/>
                    <a:pt x="68626" y="230635"/>
                  </a:cubicBezTo>
                  <a:close/>
                  <a:moveTo>
                    <a:pt x="130730" y="82152"/>
                  </a:moveTo>
                  <a:cubicBezTo>
                    <a:pt x="109727" y="81998"/>
                    <a:pt x="89105" y="87094"/>
                    <a:pt x="77294" y="97476"/>
                  </a:cubicBezTo>
                  <a:cubicBezTo>
                    <a:pt x="70722" y="105858"/>
                    <a:pt x="63388" y="138052"/>
                    <a:pt x="75008" y="152911"/>
                  </a:cubicBezTo>
                  <a:cubicBezTo>
                    <a:pt x="95296" y="180153"/>
                    <a:pt x="130634" y="179962"/>
                    <a:pt x="131206" y="179867"/>
                  </a:cubicBezTo>
                  <a:cubicBezTo>
                    <a:pt x="132063" y="180057"/>
                    <a:pt x="167496" y="180248"/>
                    <a:pt x="187689" y="153102"/>
                  </a:cubicBezTo>
                  <a:cubicBezTo>
                    <a:pt x="193499" y="145577"/>
                    <a:pt x="195880" y="132051"/>
                    <a:pt x="193785" y="117764"/>
                  </a:cubicBezTo>
                  <a:cubicBezTo>
                    <a:pt x="192166" y="106620"/>
                    <a:pt x="188546" y="99857"/>
                    <a:pt x="186927" y="98714"/>
                  </a:cubicBezTo>
                  <a:cubicBezTo>
                    <a:pt x="186832" y="98619"/>
                    <a:pt x="186546" y="98428"/>
                    <a:pt x="186451" y="98333"/>
                  </a:cubicBezTo>
                  <a:cubicBezTo>
                    <a:pt x="173116" y="87713"/>
                    <a:pt x="151732" y="82307"/>
                    <a:pt x="130730" y="82152"/>
                  </a:cubicBezTo>
                  <a:close/>
                  <a:moveTo>
                    <a:pt x="129503" y="62757"/>
                  </a:moveTo>
                  <a:cubicBezTo>
                    <a:pt x="154875" y="62662"/>
                    <a:pt x="180783" y="69472"/>
                    <a:pt x="198166" y="83188"/>
                  </a:cubicBezTo>
                  <a:cubicBezTo>
                    <a:pt x="207977" y="90332"/>
                    <a:pt x="211501" y="107191"/>
                    <a:pt x="212549" y="114144"/>
                  </a:cubicBezTo>
                  <a:cubicBezTo>
                    <a:pt x="215597" y="133956"/>
                    <a:pt x="211978" y="152816"/>
                    <a:pt x="202834" y="164532"/>
                  </a:cubicBezTo>
                  <a:cubicBezTo>
                    <a:pt x="178259" y="197583"/>
                    <a:pt x="137968" y="198917"/>
                    <a:pt x="131872" y="198917"/>
                  </a:cubicBezTo>
                  <a:cubicBezTo>
                    <a:pt x="131206" y="198917"/>
                    <a:pt x="131301" y="198917"/>
                    <a:pt x="130539" y="198917"/>
                  </a:cubicBezTo>
                  <a:cubicBezTo>
                    <a:pt x="124919" y="198917"/>
                    <a:pt x="84533" y="197679"/>
                    <a:pt x="59863" y="164436"/>
                  </a:cubicBezTo>
                  <a:cubicBezTo>
                    <a:pt x="42052" y="141481"/>
                    <a:pt x="51481" y="98333"/>
                    <a:pt x="63197" y="84617"/>
                  </a:cubicBezTo>
                  <a:cubicBezTo>
                    <a:pt x="63483" y="84331"/>
                    <a:pt x="63769" y="84045"/>
                    <a:pt x="64054" y="83760"/>
                  </a:cubicBezTo>
                  <a:cubicBezTo>
                    <a:pt x="79294" y="69854"/>
                    <a:pt x="104131" y="62853"/>
                    <a:pt x="129503" y="62757"/>
                  </a:cubicBezTo>
                  <a:close/>
                  <a:moveTo>
                    <a:pt x="136063" y="19085"/>
                  </a:moveTo>
                  <a:cubicBezTo>
                    <a:pt x="90534" y="17180"/>
                    <a:pt x="36146" y="40897"/>
                    <a:pt x="19572" y="112811"/>
                  </a:cubicBezTo>
                  <a:cubicBezTo>
                    <a:pt x="16810" y="188535"/>
                    <a:pt x="25668" y="245208"/>
                    <a:pt x="37575" y="284451"/>
                  </a:cubicBezTo>
                  <a:cubicBezTo>
                    <a:pt x="38146" y="284642"/>
                    <a:pt x="38718" y="284832"/>
                    <a:pt x="39289" y="285023"/>
                  </a:cubicBezTo>
                  <a:cubicBezTo>
                    <a:pt x="107488" y="313503"/>
                    <a:pt x="155589" y="313503"/>
                    <a:pt x="223122" y="285118"/>
                  </a:cubicBezTo>
                  <a:cubicBezTo>
                    <a:pt x="235314" y="247399"/>
                    <a:pt x="245410" y="191868"/>
                    <a:pt x="245696" y="112906"/>
                  </a:cubicBezTo>
                  <a:cubicBezTo>
                    <a:pt x="236838" y="51279"/>
                    <a:pt x="182736" y="21085"/>
                    <a:pt x="136063" y="19085"/>
                  </a:cubicBezTo>
                  <a:close/>
                  <a:moveTo>
                    <a:pt x="136825" y="130"/>
                  </a:moveTo>
                  <a:cubicBezTo>
                    <a:pt x="191308" y="2321"/>
                    <a:pt x="254554" y="38039"/>
                    <a:pt x="264651" y="110906"/>
                  </a:cubicBezTo>
                  <a:cubicBezTo>
                    <a:pt x="264746" y="111382"/>
                    <a:pt x="264746" y="111858"/>
                    <a:pt x="264746" y="112239"/>
                  </a:cubicBezTo>
                  <a:cubicBezTo>
                    <a:pt x="264270" y="294453"/>
                    <a:pt x="212549" y="362080"/>
                    <a:pt x="190737" y="371796"/>
                  </a:cubicBezTo>
                  <a:cubicBezTo>
                    <a:pt x="190832" y="371986"/>
                    <a:pt x="190832" y="372272"/>
                    <a:pt x="190832" y="372462"/>
                  </a:cubicBezTo>
                  <a:lnTo>
                    <a:pt x="190832" y="383511"/>
                  </a:lnTo>
                  <a:lnTo>
                    <a:pt x="247315" y="383511"/>
                  </a:lnTo>
                  <a:cubicBezTo>
                    <a:pt x="252554" y="383511"/>
                    <a:pt x="256840" y="387798"/>
                    <a:pt x="256840" y="393036"/>
                  </a:cubicBezTo>
                  <a:cubicBezTo>
                    <a:pt x="256840" y="398275"/>
                    <a:pt x="252554" y="402561"/>
                    <a:pt x="247315" y="402561"/>
                  </a:cubicBezTo>
                  <a:lnTo>
                    <a:pt x="15381" y="402561"/>
                  </a:lnTo>
                  <a:cubicBezTo>
                    <a:pt x="10143" y="402561"/>
                    <a:pt x="5856" y="398275"/>
                    <a:pt x="5856" y="393036"/>
                  </a:cubicBezTo>
                  <a:cubicBezTo>
                    <a:pt x="5856" y="387798"/>
                    <a:pt x="10143" y="383511"/>
                    <a:pt x="15381" y="383511"/>
                  </a:cubicBezTo>
                  <a:lnTo>
                    <a:pt x="70436" y="383511"/>
                  </a:lnTo>
                  <a:lnTo>
                    <a:pt x="70436" y="372462"/>
                  </a:lnTo>
                  <a:cubicBezTo>
                    <a:pt x="70436" y="372272"/>
                    <a:pt x="70436" y="372081"/>
                    <a:pt x="70531" y="371891"/>
                  </a:cubicBezTo>
                  <a:cubicBezTo>
                    <a:pt x="65388" y="370176"/>
                    <a:pt x="60149" y="366557"/>
                    <a:pt x="54910" y="361032"/>
                  </a:cubicBezTo>
                  <a:cubicBezTo>
                    <a:pt x="24335" y="329409"/>
                    <a:pt x="-4240" y="239874"/>
                    <a:pt x="522" y="111191"/>
                  </a:cubicBezTo>
                  <a:cubicBezTo>
                    <a:pt x="522" y="110620"/>
                    <a:pt x="618" y="110048"/>
                    <a:pt x="713" y="109477"/>
                  </a:cubicBezTo>
                  <a:cubicBezTo>
                    <a:pt x="19668" y="25371"/>
                    <a:pt x="85866" y="-2156"/>
                    <a:pt x="136825" y="13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DB Sans"/>
                <a:ea typeface="+mn-ea"/>
                <a:cs typeface="+mn-cs"/>
              </a:endParaRPr>
            </a:p>
          </p:txBody>
        </p:sp>
      </p:grpSp>
      <p:sp>
        <p:nvSpPr>
          <p:cNvPr id="61" name="easySlideStatus">
            <a:extLst>
              <a:ext uri="{FF2B5EF4-FFF2-40B4-BE49-F238E27FC236}">
                <a16:creationId xmlns:a16="http://schemas.microsoft.com/office/drawing/2014/main" id="{36A5109F-1917-4EFC-B202-3B2E9DC838A3}"/>
              </a:ext>
            </a:extLst>
          </p:cNvPr>
          <p:cNvSpPr/>
          <p:nvPr>
            <p:custDataLst>
              <p:tags r:id="rId5"/>
            </p:custDataLst>
          </p:nvPr>
        </p:nvSpPr>
        <p:spPr bwMode="gray">
          <a:xfrm>
            <a:off x="8050844" y="1132909"/>
            <a:ext cx="3769681" cy="467927"/>
          </a:xfrm>
          <a:prstGeom prst="rect">
            <a:avLst/>
          </a:prstGeom>
          <a:solidFill>
            <a:schemeClr val="accent2"/>
          </a:solidFill>
          <a:ln w="12700" cap="flat" cmpd="sng" algn="ctr">
            <a:solidFill>
              <a:srgbClr val="FFFFFF"/>
            </a:solidFill>
            <a:prstDash val="solid"/>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err="1">
                <a:ln>
                  <a:noFill/>
                </a:ln>
                <a:solidFill>
                  <a:srgbClr val="FFFFFF"/>
                </a:solidFill>
                <a:effectLst/>
                <a:uLnTx/>
                <a:uFillTx/>
                <a:latin typeface="DB Sans"/>
                <a:ea typeface="Open Sans" panose="020B0606030504020204" pitchFamily="34" charset="0"/>
                <a:cs typeface="Open Sans" panose="020B0606030504020204" pitchFamily="34" charset="0"/>
              </a:rPr>
              <a:t>Drinking</a:t>
            </a:r>
            <a:r>
              <a:rPr kumimoji="0" lang="de-DE" sz="2000" b="1" i="0" u="none" strike="noStrike" kern="1200" cap="none" spc="0" normalizeH="0" baseline="0" noProof="0">
                <a:ln>
                  <a:noFill/>
                </a:ln>
                <a:solidFill>
                  <a:srgbClr val="FFFFFF"/>
                </a:solidFill>
                <a:effectLst/>
                <a:uLnTx/>
                <a:uFillTx/>
                <a:latin typeface="DB Sans"/>
                <a:ea typeface="Open Sans" panose="020B0606030504020204" pitchFamily="34" charset="0"/>
                <a:cs typeface="Open Sans" panose="020B0606030504020204" pitchFamily="34" charset="0"/>
              </a:rPr>
              <a:t> </a:t>
            </a:r>
            <a:r>
              <a:rPr kumimoji="0" lang="de-DE" sz="2000" b="1" i="0" u="none" strike="noStrike" kern="1200" cap="none" spc="0" normalizeH="0" baseline="0" noProof="0" err="1">
                <a:ln>
                  <a:noFill/>
                </a:ln>
                <a:solidFill>
                  <a:srgbClr val="FFFFFF"/>
                </a:solidFill>
                <a:effectLst/>
                <a:uLnTx/>
                <a:uFillTx/>
                <a:latin typeface="DB Sans"/>
                <a:ea typeface="Open Sans" panose="020B0606030504020204" pitchFamily="34" charset="0"/>
                <a:cs typeface="Open Sans" panose="020B0606030504020204" pitchFamily="34" charset="0"/>
              </a:rPr>
              <a:t>caffeinated</a:t>
            </a:r>
            <a:r>
              <a:rPr kumimoji="0" lang="de-DE" sz="2000" b="1" i="0" u="none" strike="noStrike" kern="1200" cap="none" spc="0" normalizeH="0" baseline="0" noProof="0">
                <a:ln>
                  <a:noFill/>
                </a:ln>
                <a:solidFill>
                  <a:srgbClr val="FFFFFF"/>
                </a:solidFill>
                <a:effectLst/>
                <a:uLnTx/>
                <a:uFillTx/>
                <a:latin typeface="DB Sans"/>
                <a:ea typeface="Open Sans" panose="020B0606030504020204" pitchFamily="34" charset="0"/>
                <a:cs typeface="Open Sans" panose="020B0606030504020204" pitchFamily="34" charset="0"/>
              </a:rPr>
              <a:t> </a:t>
            </a:r>
            <a:r>
              <a:rPr kumimoji="0" lang="de-DE" sz="2000" b="1" i="0" u="none" strike="noStrike" kern="1200" cap="none" spc="0" normalizeH="0" baseline="0" noProof="0" err="1">
                <a:ln>
                  <a:noFill/>
                </a:ln>
                <a:solidFill>
                  <a:srgbClr val="FFFFFF"/>
                </a:solidFill>
                <a:effectLst/>
                <a:uLnTx/>
                <a:uFillTx/>
                <a:latin typeface="DB Sans"/>
                <a:ea typeface="Open Sans" panose="020B0606030504020204" pitchFamily="34" charset="0"/>
                <a:cs typeface="Open Sans" panose="020B0606030504020204" pitchFamily="34" charset="0"/>
              </a:rPr>
              <a:t>drinks</a:t>
            </a:r>
            <a:endParaRPr kumimoji="0" lang="de-DE" sz="2000" b="1" i="0" u="none" strike="noStrike" kern="1200" cap="none" spc="0" normalizeH="0" baseline="0" noProof="0">
              <a:ln>
                <a:noFill/>
              </a:ln>
              <a:solidFill>
                <a:srgbClr val="FFFFFF"/>
              </a:solidFill>
              <a:effectLst/>
              <a:uLnTx/>
              <a:uFillTx/>
              <a:latin typeface="DB Sans"/>
              <a:ea typeface="Open Sans" panose="020B0606030504020204" pitchFamily="34" charset="0"/>
              <a:cs typeface="Open Sans" panose="020B0606030504020204" pitchFamily="34" charset="0"/>
            </a:endParaRPr>
          </a:p>
        </p:txBody>
      </p:sp>
      <p:sp>
        <p:nvSpPr>
          <p:cNvPr id="23" name="Freeform 8">
            <a:extLst>
              <a:ext uri="{FF2B5EF4-FFF2-40B4-BE49-F238E27FC236}">
                <a16:creationId xmlns:a16="http://schemas.microsoft.com/office/drawing/2014/main" id="{CA542134-EB77-42B5-9ABA-32FB2B61FEDB}"/>
              </a:ext>
            </a:extLst>
          </p:cNvPr>
          <p:cNvSpPr>
            <a:spLocks noChangeAspect="1" noEditPoints="1"/>
          </p:cNvSpPr>
          <p:nvPr/>
        </p:nvSpPr>
        <p:spPr bwMode="gray">
          <a:xfrm rot="728255" flipV="1">
            <a:off x="891335" y="2513495"/>
            <a:ext cx="1060853" cy="312260"/>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2"/>
          </a:solidFill>
          <a:ln>
            <a:noFill/>
          </a:ln>
          <a:effec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FFFFFF"/>
              </a:solidFill>
              <a:effectLst/>
              <a:uLnTx/>
              <a:uFillTx/>
              <a:latin typeface="DB Sans"/>
              <a:ea typeface="+mn-ea"/>
              <a:cs typeface="+mn-cs"/>
            </a:endParaRPr>
          </a:p>
        </p:txBody>
      </p:sp>
      <p:pic>
        <p:nvPicPr>
          <p:cNvPr id="2" name="Grafik 1">
            <a:extLst>
              <a:ext uri="{FF2B5EF4-FFF2-40B4-BE49-F238E27FC236}">
                <a16:creationId xmlns:a16="http://schemas.microsoft.com/office/drawing/2014/main" id="{9C28274B-37E5-40C5-B5D8-0C9A8CEBA62B}"/>
              </a:ext>
            </a:extLst>
          </p:cNvPr>
          <p:cNvPicPr>
            <a:picLocks noChangeAspect="1"/>
          </p:cNvPicPr>
          <p:nvPr/>
        </p:nvPicPr>
        <p:blipFill>
          <a:blip r:embed="rId13"/>
          <a:stretch>
            <a:fillRect/>
          </a:stretch>
        </p:blipFill>
        <p:spPr>
          <a:xfrm>
            <a:off x="371474" y="1132909"/>
            <a:ext cx="2185282" cy="1229221"/>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26609098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8CC5EAD-1B87-44DC-9463-39BB58080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573" imgH="574" progId="TCLayout.ActiveDocument.1">
                  <p:embed/>
                </p:oleObj>
              </mc:Choice>
              <mc:Fallback>
                <p:oleObj name="think-cell Folie" r:id="rId14" imgW="573" imgH="574" progId="TCLayout.ActiveDocument.1">
                  <p:embed/>
                  <p:pic>
                    <p:nvPicPr>
                      <p:cNvPr id="6" name="Objekt 5" hidden="1">
                        <a:extLst>
                          <a:ext uri="{FF2B5EF4-FFF2-40B4-BE49-F238E27FC236}">
                            <a16:creationId xmlns:a16="http://schemas.microsoft.com/office/drawing/2014/main" id="{38CC5EAD-1B87-44DC-9463-39BB5808028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4B2E39A-781A-4466-AB9C-A153E4537004}"/>
              </a:ext>
            </a:extLst>
          </p:cNvPr>
          <p:cNvSpPr/>
          <p:nvPr>
            <p:custDataLst>
              <p:tags r:id="rId3"/>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2400" b="1" i="0" u="none" strike="noStrike" kern="1200" cap="none" spc="0" normalizeH="0" baseline="0" noProof="0" err="1">
              <a:ln>
                <a:noFill/>
              </a:ln>
              <a:solidFill>
                <a:prstClr val="black"/>
              </a:solidFill>
              <a:effectLst/>
              <a:uLnTx/>
              <a:uFillTx/>
              <a:latin typeface="DB Office" panose="020B0604020202020204" pitchFamily="34" charset="0"/>
              <a:ea typeface="+mn-ea"/>
              <a:cs typeface="+mn-cs"/>
              <a:sym typeface="DB Office" panose="020B0604020202020204" pitchFamily="34" charset="0"/>
            </a:endParaRPr>
          </a:p>
        </p:txBody>
      </p:sp>
      <p:sp>
        <p:nvSpPr>
          <p:cNvPr id="2" name="Titel 1">
            <a:extLst>
              <a:ext uri="{FF2B5EF4-FFF2-40B4-BE49-F238E27FC236}">
                <a16:creationId xmlns:a16="http://schemas.microsoft.com/office/drawing/2014/main" id="{5973B5E6-9F96-47FB-9015-5717A6662120}"/>
              </a:ext>
            </a:extLst>
          </p:cNvPr>
          <p:cNvSpPr>
            <a:spLocks noGrp="1"/>
          </p:cNvSpPr>
          <p:nvPr>
            <p:ph type="title"/>
            <p:custDataLst>
              <p:tags r:id="rId4"/>
            </p:custDataLst>
          </p:nvPr>
        </p:nvSpPr>
        <p:spPr>
          <a:xfrm>
            <a:off x="371474" y="296696"/>
            <a:ext cx="10313943" cy="864052"/>
          </a:xfrm>
        </p:spPr>
        <p:txBody>
          <a:bodyPr/>
          <a:lstStyle/>
          <a:p>
            <a:r>
              <a:rPr lang="en-US" b="1" err="1">
                <a:latin typeface="DB Office" panose="020B0604020202020204" pitchFamily="34" charset="0"/>
              </a:rPr>
              <a:t>Attention@DB</a:t>
            </a:r>
            <a:r>
              <a:rPr lang="en-US" b="1">
                <a:latin typeface="DB Office" panose="020B0604020202020204" pitchFamily="34" charset="0"/>
              </a:rPr>
              <a:t>: The training works by promoting crucial psychological skills</a:t>
            </a:r>
            <a:endParaRPr lang="de-DE" b="1">
              <a:latin typeface="DB Office" panose="020B0604020202020204" pitchFamily="34" charset="0"/>
            </a:endParaRPr>
          </a:p>
        </p:txBody>
      </p:sp>
      <p:sp>
        <p:nvSpPr>
          <p:cNvPr id="3" name="Fußzeilenplatzhalter 2">
            <a:extLst>
              <a:ext uri="{FF2B5EF4-FFF2-40B4-BE49-F238E27FC236}">
                <a16:creationId xmlns:a16="http://schemas.microsoft.com/office/drawing/2014/main" id="{E95C0E9F-CD41-441B-9A98-1FB54FAD5619}"/>
              </a:ext>
            </a:extLst>
          </p:cNvPr>
          <p:cNvSpPr>
            <a:spLocks noGrp="1"/>
          </p:cNvSpPr>
          <p:nvPr>
            <p:ph type="ftr" sz="quarter" idx="11"/>
            <p:custDataLst>
              <p:tags r:id="rId5"/>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DB Office" panose="020B0604020202020204" pitchFamily="34" charset="0"/>
                <a:ea typeface="+mn-ea"/>
                <a:cs typeface="+mn-cs"/>
              </a:rPr>
              <a:t>© DB Regio AG | R.RBE Eisenbahnbetriebsleiter</a:t>
            </a:r>
          </a:p>
        </p:txBody>
      </p:sp>
      <p:sp>
        <p:nvSpPr>
          <p:cNvPr id="4" name="Foliennummernplatzhalter 3">
            <a:extLst>
              <a:ext uri="{FF2B5EF4-FFF2-40B4-BE49-F238E27FC236}">
                <a16:creationId xmlns:a16="http://schemas.microsoft.com/office/drawing/2014/main" id="{C00EB3C2-9118-44DF-9CE9-BEFB8A7A20D4}"/>
              </a:ext>
            </a:extLst>
          </p:cNvPr>
          <p:cNvSpPr>
            <a:spLocks noGrp="1"/>
          </p:cNvSpPr>
          <p:nvPr>
            <p:ph type="sldNum" sz="quarter" idx="12"/>
            <p:custDataLst>
              <p:tags r:id="rId6"/>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black"/>
                </a:solidFill>
                <a:effectLst/>
                <a:uLnTx/>
                <a:uFillTx/>
                <a:latin typeface="DB Office"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000" b="1" i="0" u="none" strike="noStrike" kern="1200" cap="none" spc="0" normalizeH="0" baseline="0" noProof="0">
              <a:ln>
                <a:noFill/>
              </a:ln>
              <a:solidFill>
                <a:prstClr val="black"/>
              </a:solidFill>
              <a:effectLst/>
              <a:uLnTx/>
              <a:uFillTx/>
              <a:latin typeface="DB Office" panose="020B0604020202020204" pitchFamily="34" charset="0"/>
              <a:ea typeface="+mn-ea"/>
              <a:cs typeface="+mn-cs"/>
            </a:endParaRPr>
          </a:p>
        </p:txBody>
      </p:sp>
      <p:sp>
        <p:nvSpPr>
          <p:cNvPr id="50" name="Rectangle 56">
            <a:extLst>
              <a:ext uri="{FF2B5EF4-FFF2-40B4-BE49-F238E27FC236}">
                <a16:creationId xmlns:a16="http://schemas.microsoft.com/office/drawing/2014/main" id="{76FD5F8E-9ECC-4E39-9D43-8BBEC9B95F89}"/>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DB Office" panose="020B0604020202020204" pitchFamily="34" charset="0"/>
              <a:ea typeface="+mn-ea"/>
              <a:cs typeface="+mn-cs"/>
            </a:endParaRPr>
          </a:p>
        </p:txBody>
      </p:sp>
      <p:sp>
        <p:nvSpPr>
          <p:cNvPr id="51" name="Rectangle 68">
            <a:extLst>
              <a:ext uri="{FF2B5EF4-FFF2-40B4-BE49-F238E27FC236}">
                <a16:creationId xmlns:a16="http://schemas.microsoft.com/office/drawing/2014/main" id="{2DF49965-6835-488F-A410-800FDB927EF6}"/>
              </a:ext>
            </a:extLst>
          </p:cNvPr>
          <p:cNvSpPr>
            <a:spLocks noChangeArrowheads="1"/>
          </p:cNvSpPr>
          <p:nvPr/>
        </p:nvSpPr>
        <p:spPr bwMode="auto">
          <a:xfrm>
            <a:off x="0" y="2725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DB Office" panose="020B0604020202020204" pitchFamily="34" charset="0"/>
              <a:ea typeface="+mn-ea"/>
              <a:cs typeface="+mn-cs"/>
            </a:endParaRPr>
          </a:p>
        </p:txBody>
      </p:sp>
      <p:pic>
        <p:nvPicPr>
          <p:cNvPr id="52" name="Grafik 51" descr="Benutzer">
            <a:extLst>
              <a:ext uri="{FF2B5EF4-FFF2-40B4-BE49-F238E27FC236}">
                <a16:creationId xmlns:a16="http://schemas.microsoft.com/office/drawing/2014/main" id="{39CC07A3-1454-4D74-97C9-934DBE8F903A}"/>
              </a:ext>
            </a:extLst>
          </p:cNvPr>
          <p:cNvPicPr>
            <a:picLocks noChangeAspect="1"/>
          </p:cNvPicPr>
          <p:nvPr>
            <p:custDataLst>
              <p:tags r:id="rId7"/>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95385" y="5220847"/>
            <a:ext cx="1637153" cy="1637153"/>
          </a:xfrm>
          <a:prstGeom prst="rect">
            <a:avLst/>
          </a:prstGeom>
        </p:spPr>
      </p:pic>
      <p:sp>
        <p:nvSpPr>
          <p:cNvPr id="55" name="Rechteck 54">
            <a:extLst>
              <a:ext uri="{FF2B5EF4-FFF2-40B4-BE49-F238E27FC236}">
                <a16:creationId xmlns:a16="http://schemas.microsoft.com/office/drawing/2014/main" id="{EC7FF146-2E2B-439B-BF85-CA24F76BB867}"/>
              </a:ext>
            </a:extLst>
          </p:cNvPr>
          <p:cNvSpPr/>
          <p:nvPr>
            <p:custDataLst>
              <p:tags r:id="rId8"/>
            </p:custDataLst>
          </p:nvPr>
        </p:nvSpPr>
        <p:spPr>
          <a:xfrm>
            <a:off x="4763805" y="1274126"/>
            <a:ext cx="6629970" cy="3400931"/>
          </a:xfrm>
          <a:prstGeom prst="rect">
            <a:avLst/>
          </a:prstGeom>
        </p:spPr>
        <p:txBody>
          <a:bodyPr wrap="square">
            <a:spAutoFit/>
          </a:bodyPr>
          <a:lstStyle/>
          <a:p>
            <a:pPr marL="342900" marR="0" lvl="1" indent="-342900" algn="l" defTabSz="914400" rtl="0" eaLnBrk="1" fontAlgn="auto" latinLnBrk="0" hangingPunct="1">
              <a:lnSpc>
                <a:spcPct val="100000"/>
              </a:lnSpc>
              <a:spcBef>
                <a:spcPts val="0"/>
              </a:spcBef>
              <a:spcAft>
                <a:spcPts val="600"/>
              </a:spcAft>
              <a:buClr>
                <a:srgbClr val="EC0016"/>
              </a:buClr>
              <a:buSzTx/>
              <a:buFont typeface="+mj-lt"/>
              <a:buAutoNum type="arabicPeriod"/>
              <a:tabLst/>
              <a:defRPr/>
            </a:pPr>
            <a:r>
              <a:rPr kumimoji="0" lang="de-DE" sz="1800" b="0" i="0" u="none" strike="noStrike" kern="1200" cap="none" spc="0" normalizeH="0" baseline="0" noProof="0" err="1">
                <a:ln>
                  <a:noFill/>
                </a:ln>
                <a:solidFill>
                  <a:prstClr val="black"/>
                </a:solidFill>
                <a:effectLst/>
                <a:uLnTx/>
                <a:uFillTx/>
                <a:latin typeface="DB Sans"/>
                <a:ea typeface="+mn-ea"/>
                <a:cs typeface="+mn-cs"/>
              </a:rPr>
              <a:t>Strengthening</a:t>
            </a:r>
            <a:r>
              <a:rPr kumimoji="0" lang="de-DE" sz="1800" b="0" i="0" u="none" strike="noStrike" kern="1200" cap="none" spc="0" normalizeH="0" baseline="0" noProof="0">
                <a:ln>
                  <a:noFill/>
                </a:ln>
                <a:solidFill>
                  <a:prstClr val="black"/>
                </a:solidFill>
                <a:effectLst/>
                <a:uLnTx/>
                <a:uFillTx/>
                <a:latin typeface="DB Sans"/>
                <a:ea typeface="+mn-ea"/>
                <a:cs typeface="+mn-cs"/>
              </a:rPr>
              <a:t> </a:t>
            </a:r>
            <a:r>
              <a:rPr kumimoji="0" lang="de-DE" sz="1800" b="0" i="0" u="none" strike="noStrike" kern="1200" cap="none" spc="0" normalizeH="0" baseline="0" noProof="0" err="1">
                <a:ln>
                  <a:noFill/>
                </a:ln>
                <a:solidFill>
                  <a:prstClr val="black"/>
                </a:solidFill>
                <a:effectLst/>
                <a:uLnTx/>
                <a:uFillTx/>
                <a:latin typeface="DB Sans"/>
                <a:ea typeface="+mn-ea"/>
                <a:cs typeface="+mn-cs"/>
              </a:rPr>
              <a:t>self-efficiacy</a:t>
            </a:r>
            <a:r>
              <a:rPr kumimoji="0" lang="de-DE" sz="1800" b="0" i="0" u="none" strike="noStrike" kern="1200" cap="none" spc="0" normalizeH="0" baseline="0" noProof="0">
                <a:ln>
                  <a:noFill/>
                </a:ln>
                <a:solidFill>
                  <a:prstClr val="black"/>
                </a:solidFill>
                <a:effectLst/>
                <a:uLnTx/>
                <a:uFillTx/>
                <a:latin typeface="DB Sans"/>
                <a:ea typeface="+mn-ea"/>
                <a:cs typeface="+mn-cs"/>
              </a:rPr>
              <a:t> </a:t>
            </a:r>
          </a:p>
          <a:p>
            <a:pPr marL="342900" marR="0" lvl="1" indent="-342900" algn="l" defTabSz="914400" rtl="0" eaLnBrk="1" fontAlgn="auto" latinLnBrk="0" hangingPunct="1">
              <a:lnSpc>
                <a:spcPct val="100000"/>
              </a:lnSpc>
              <a:spcBef>
                <a:spcPts val="0"/>
              </a:spcBef>
              <a:spcAft>
                <a:spcPts val="600"/>
              </a:spcAft>
              <a:buClr>
                <a:srgbClr val="EC0016"/>
              </a:buClr>
              <a:buSzTx/>
              <a:buFont typeface="+mj-lt"/>
              <a:buAutoNum type="arabicPeriod"/>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Focusing on individual degrees of freedom:</a:t>
            </a:r>
            <a:endParaRPr kumimoji="0" lang="de-DE" sz="1800" b="0" i="0" u="none" strike="noStrike" kern="1200" cap="none" spc="0" normalizeH="0" baseline="0" noProof="0">
              <a:ln>
                <a:noFill/>
              </a:ln>
              <a:solidFill>
                <a:prstClr val="black"/>
              </a:solidFill>
              <a:effectLst/>
              <a:uLnTx/>
              <a:uFillTx/>
              <a:latin typeface="DB Sans"/>
              <a:ea typeface="+mn-ea"/>
              <a:cs typeface="+mn-cs"/>
            </a:endParaRPr>
          </a:p>
          <a:p>
            <a:pPr marL="800100" marR="0" lvl="1"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Self-control</a:t>
            </a:r>
          </a:p>
          <a:p>
            <a:pPr marL="800100" marR="0" lvl="1"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Emotional regulation</a:t>
            </a:r>
          </a:p>
          <a:p>
            <a:pPr marL="800100" marR="0" lvl="1"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Focus and concentration (presence)</a:t>
            </a:r>
          </a:p>
          <a:p>
            <a:pPr marL="800100" marR="0" lvl="1"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Possibilities of targeted regeneration in leisure time</a:t>
            </a:r>
          </a:p>
          <a:p>
            <a:pPr marL="800100" marR="0" lvl="1"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Personal satisfaction (professional </a:t>
            </a:r>
            <a:r>
              <a:rPr kumimoji="0" lang="en-US" sz="1800" b="0" i="0" u="sng" strike="noStrike" kern="1200" cap="none" spc="0" normalizeH="0" baseline="0" noProof="0">
                <a:ln>
                  <a:noFill/>
                </a:ln>
                <a:solidFill>
                  <a:prstClr val="black"/>
                </a:solidFill>
                <a:effectLst/>
                <a:uLnTx/>
                <a:uFillTx/>
                <a:latin typeface="DB Sans"/>
                <a:ea typeface="+mn-ea"/>
                <a:cs typeface="+mn-cs"/>
              </a:rPr>
              <a:t>and</a:t>
            </a:r>
            <a:r>
              <a:rPr kumimoji="0" lang="en-US" sz="1800" b="0" i="0" u="none" strike="noStrike" kern="1200" cap="none" spc="0" normalizeH="0" baseline="0" noProof="0">
                <a:ln>
                  <a:noFill/>
                </a:ln>
                <a:solidFill>
                  <a:prstClr val="black"/>
                </a:solidFill>
                <a:effectLst/>
                <a:uLnTx/>
                <a:uFillTx/>
                <a:latin typeface="DB Sans"/>
                <a:ea typeface="+mn-ea"/>
                <a:cs typeface="+mn-cs"/>
              </a:rPr>
              <a:t> private)</a:t>
            </a:r>
            <a:endParaRPr kumimoji="0" lang="de-DE" sz="1800" b="0" i="0" u="none" strike="noStrike" kern="1200" cap="none" spc="0" normalizeH="0" baseline="0" noProof="0">
              <a:ln>
                <a:noFill/>
              </a:ln>
              <a:solidFill>
                <a:prstClr val="black"/>
              </a:solidFill>
              <a:effectLst/>
              <a:uLnTx/>
              <a:uFillTx/>
              <a:latin typeface="DB Sans"/>
              <a:ea typeface="+mn-ea"/>
              <a:cs typeface="+mn-cs"/>
            </a:endParaRPr>
          </a:p>
          <a:p>
            <a:pPr marL="342900" marR="0" lvl="1" indent="-342900" algn="l" defTabSz="914400" rtl="0" eaLnBrk="1" fontAlgn="auto" latinLnBrk="0" hangingPunct="1">
              <a:lnSpc>
                <a:spcPct val="100000"/>
              </a:lnSpc>
              <a:spcBef>
                <a:spcPts val="0"/>
              </a:spcBef>
              <a:spcAft>
                <a:spcPts val="600"/>
              </a:spcAft>
              <a:buClr>
                <a:srgbClr val="EC0016"/>
              </a:buClr>
              <a:buSzTx/>
              <a:buFont typeface="+mj-lt"/>
              <a:buAutoNum type="arabicPeriod" startAt="3"/>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The participant's perception is directed towards what can be influenced instead of concentrating on what is unchangeable.</a:t>
            </a:r>
            <a:endParaRPr kumimoji="0" lang="de-DE" sz="1800" b="0" i="0" u="none" strike="noStrike" kern="1200" cap="none" spc="0" normalizeH="0" baseline="0" noProof="0">
              <a:ln>
                <a:noFill/>
              </a:ln>
              <a:solidFill>
                <a:prstClr val="black"/>
              </a:solidFill>
              <a:effectLst/>
              <a:uLnTx/>
              <a:uFillTx/>
              <a:latin typeface="DB Sans"/>
              <a:ea typeface="+mn-ea"/>
              <a:cs typeface="+mn-cs"/>
            </a:endParaRPr>
          </a:p>
        </p:txBody>
      </p:sp>
      <p:sp>
        <p:nvSpPr>
          <p:cNvPr id="56" name="Abgerundetes Rechteck 8">
            <a:extLst>
              <a:ext uri="{FF2B5EF4-FFF2-40B4-BE49-F238E27FC236}">
                <a16:creationId xmlns:a16="http://schemas.microsoft.com/office/drawing/2014/main" id="{625E98AF-AA12-4AA7-9DFB-BA7E13987FF8}"/>
              </a:ext>
            </a:extLst>
          </p:cNvPr>
          <p:cNvSpPr/>
          <p:nvPr>
            <p:custDataLst>
              <p:tags r:id="rId9"/>
            </p:custDataLst>
          </p:nvPr>
        </p:nvSpPr>
        <p:spPr>
          <a:xfrm>
            <a:off x="4691027" y="4788435"/>
            <a:ext cx="7428195" cy="864096"/>
          </a:xfrm>
          <a:prstGeom prst="round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marL="3600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DB Sans"/>
                <a:ea typeface="+mn-ea"/>
                <a:cs typeface="+mn-cs"/>
              </a:rPr>
              <a:t>Actors who take responsibility for their own actions, in </a:t>
            </a:r>
            <a:r>
              <a:rPr kumimoji="0" lang="en-US" sz="1800" b="1" i="0" u="sng" strike="noStrike" kern="1200" cap="none" spc="0" normalizeH="0" baseline="0" noProof="0">
                <a:ln>
                  <a:noFill/>
                </a:ln>
                <a:solidFill>
                  <a:prstClr val="black"/>
                </a:solidFill>
                <a:effectLst/>
                <a:uLnTx/>
                <a:uFillTx/>
                <a:latin typeface="DB Sans"/>
                <a:ea typeface="+mn-ea"/>
                <a:cs typeface="+mn-cs"/>
              </a:rPr>
              <a:t>combination</a:t>
            </a:r>
            <a:r>
              <a:rPr kumimoji="0" lang="en-US" sz="1800" b="1" i="0" u="none" strike="noStrike" kern="1200" cap="none" spc="0" normalizeH="0" baseline="0" noProof="0">
                <a:ln>
                  <a:noFill/>
                </a:ln>
                <a:solidFill>
                  <a:prstClr val="black"/>
                </a:solidFill>
                <a:effectLst/>
                <a:uLnTx/>
                <a:uFillTx/>
                <a:latin typeface="DB Sans"/>
                <a:ea typeface="+mn-ea"/>
                <a:cs typeface="+mn-cs"/>
              </a:rPr>
              <a:t> with rules and regulations, strengthen the safety culture.</a:t>
            </a:r>
            <a:endParaRPr kumimoji="0" lang="de-DE" sz="1800" b="1" i="0" u="none" strike="noStrike" kern="1200" cap="none" spc="0" normalizeH="0" baseline="0" noProof="0">
              <a:ln>
                <a:noFill/>
              </a:ln>
              <a:solidFill>
                <a:prstClr val="black"/>
              </a:solidFill>
              <a:effectLst/>
              <a:uLnTx/>
              <a:uFillTx/>
              <a:latin typeface="DB Sans"/>
              <a:ea typeface="+mn-ea"/>
              <a:cs typeface="+mn-cs"/>
            </a:endParaRPr>
          </a:p>
        </p:txBody>
      </p:sp>
      <p:sp>
        <p:nvSpPr>
          <p:cNvPr id="16" name="Rechteck 15">
            <a:extLst>
              <a:ext uri="{FF2B5EF4-FFF2-40B4-BE49-F238E27FC236}">
                <a16:creationId xmlns:a16="http://schemas.microsoft.com/office/drawing/2014/main" id="{9B6392F4-03D1-4047-8C60-E9B7B63E6C9B}"/>
              </a:ext>
            </a:extLst>
          </p:cNvPr>
          <p:cNvSpPr/>
          <p:nvPr>
            <p:custDataLst>
              <p:tags r:id="rId10"/>
            </p:custDataLst>
          </p:nvPr>
        </p:nvSpPr>
        <p:spPr>
          <a:xfrm>
            <a:off x="8135571" y="6460946"/>
            <a:ext cx="316445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800" b="1" i="0" u="none" strike="noStrike" kern="1200" cap="none" spc="0" normalizeH="0" baseline="0" noProof="0">
                <a:ln>
                  <a:noFill/>
                </a:ln>
                <a:solidFill>
                  <a:srgbClr val="055673"/>
                </a:solidFill>
                <a:effectLst/>
                <a:uLnTx/>
                <a:uFillTx/>
                <a:latin typeface="DB Head Alternate" panose="020B0502050202020204" pitchFamily="34" charset="0"/>
                <a:ea typeface="Times New Roman" panose="02020603050405020304" pitchFamily="18" charset="0"/>
                <a:cs typeface="Times New Roman" panose="02020603050405020304" pitchFamily="18" charset="0"/>
              </a:rPr>
              <a:t>Sicherheit |</a:t>
            </a:r>
            <a:r>
              <a:rPr kumimoji="0" lang="de-DE" sz="1800" b="0" i="0" u="none" strike="noStrike" kern="1200" cap="none" spc="0" normalizeH="0" baseline="0" noProof="0">
                <a:ln>
                  <a:noFill/>
                </a:ln>
                <a:solidFill>
                  <a:srgbClr val="055673"/>
                </a:solidFill>
                <a:effectLst/>
                <a:uLnTx/>
                <a:uFillTx/>
                <a:latin typeface="DB Head Alternate" panose="020B0502050202020204" pitchFamily="34" charset="0"/>
                <a:ea typeface="Times New Roman" panose="02020603050405020304" pitchFamily="18" charset="0"/>
                <a:cs typeface="Times New Roman" panose="02020603050405020304" pitchFamily="18" charset="0"/>
              </a:rPr>
              <a:t> </a:t>
            </a:r>
            <a:r>
              <a:rPr kumimoji="0" lang="de-DE" sz="1800" b="0" i="0" u="none" strike="noStrike" kern="1200" cap="none" spc="0" normalizeH="0" baseline="0" noProof="0">
                <a:ln>
                  <a:noFill/>
                </a:ln>
                <a:solidFill>
                  <a:srgbClr val="000000"/>
                </a:solidFill>
                <a:effectLst/>
                <a:uLnTx/>
                <a:uFillTx/>
                <a:latin typeface="DB Head Alternate" panose="020B0502050202020204" pitchFamily="34" charset="0"/>
                <a:ea typeface="Times New Roman" panose="02020603050405020304" pitchFamily="18" charset="0"/>
                <a:cs typeface="Times New Roman" panose="02020603050405020304" pitchFamily="18" charset="0"/>
              </a:rPr>
              <a:t>Nur gemeinsam</a:t>
            </a:r>
            <a:endParaRPr kumimoji="0" lang="de-DE" sz="1400" b="0" i="0" u="none" strike="noStrike" kern="1200" cap="none" spc="0" normalizeH="0" baseline="0" noProof="0">
              <a:ln>
                <a:noFill/>
              </a:ln>
              <a:solidFill>
                <a:srgbClr val="000000"/>
              </a:solidFill>
              <a:effectLst/>
              <a:uLnTx/>
              <a:uFillTx/>
              <a:latin typeface="DB Sans"/>
              <a:ea typeface="Times New Roman" panose="02020603050405020304" pitchFamily="18" charset="0"/>
              <a:cs typeface="Times New Roman" panose="02020603050405020304" pitchFamily="18" charset="0"/>
            </a:endParaRPr>
          </a:p>
        </p:txBody>
      </p:sp>
      <p:pic>
        <p:nvPicPr>
          <p:cNvPr id="9" name="Grafik 8">
            <a:extLst>
              <a:ext uri="{FF2B5EF4-FFF2-40B4-BE49-F238E27FC236}">
                <a16:creationId xmlns:a16="http://schemas.microsoft.com/office/drawing/2014/main" id="{669173D7-A0BC-4A94-BBD0-7367A190F4E6}"/>
              </a:ext>
            </a:extLst>
          </p:cNvPr>
          <p:cNvPicPr>
            <a:picLocks noChangeAspect="1"/>
          </p:cNvPicPr>
          <p:nvPr/>
        </p:nvPicPr>
        <p:blipFill>
          <a:blip r:embed="rId18"/>
          <a:stretch>
            <a:fillRect/>
          </a:stretch>
        </p:blipFill>
        <p:spPr>
          <a:xfrm>
            <a:off x="371474" y="1274126"/>
            <a:ext cx="3247160" cy="4873752"/>
          </a:xfrm>
          <a:prstGeom prst="rect">
            <a:avLst/>
          </a:prstGeom>
        </p:spPr>
      </p:pic>
      <p:pic>
        <p:nvPicPr>
          <p:cNvPr id="57" name="Grafik 56">
            <a:extLst>
              <a:ext uri="{FF2B5EF4-FFF2-40B4-BE49-F238E27FC236}">
                <a16:creationId xmlns:a16="http://schemas.microsoft.com/office/drawing/2014/main" id="{8A15377B-D0E8-42A1-9C33-7C9A8EBB8085}"/>
              </a:ext>
            </a:extLst>
          </p:cNvPr>
          <p:cNvPicPr>
            <a:picLocks noChangeAspect="1"/>
          </p:cNvPicPr>
          <p:nvPr>
            <p:custDataLst>
              <p:tags r:id="rId11"/>
            </p:custDataLst>
          </p:nvPr>
        </p:nvPicPr>
        <p:blipFill>
          <a:blip r:embed="rId19"/>
          <a:stretch>
            <a:fillRect/>
          </a:stretch>
        </p:blipFill>
        <p:spPr>
          <a:xfrm>
            <a:off x="737852" y="2899485"/>
            <a:ext cx="2514404" cy="3638115"/>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08990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21AA305A-AA80-4DFA-8A64-D0D8433AE0F8}"/>
              </a:ext>
            </a:extLst>
          </p:cNvPr>
          <p:cNvSpPr/>
          <p:nvPr/>
        </p:nvSpPr>
        <p:spPr bwMode="auto">
          <a:xfrm>
            <a:off x="0" y="1270774"/>
            <a:ext cx="12190476" cy="5184000"/>
          </a:xfrm>
          <a:prstGeom prst="rect">
            <a:avLst/>
          </a:prstGeom>
          <a:solidFill>
            <a:schemeClr val="accent3"/>
          </a:solidFill>
          <a:ln w="12700" cap="flat" cmpd="sng" algn="ctr">
            <a:no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err="1">
              <a:ln>
                <a:noFill/>
              </a:ln>
              <a:solidFill>
                <a:prstClr val="black"/>
              </a:solidFill>
              <a:effectLst/>
              <a:uLnTx/>
              <a:uFillTx/>
              <a:latin typeface="DB Office" pitchFamily="34" charset="0"/>
              <a:ea typeface="+mn-ea"/>
              <a:cs typeface="+mn-cs"/>
            </a:endParaRPr>
          </a:p>
        </p:txBody>
      </p:sp>
      <p:sp>
        <p:nvSpPr>
          <p:cNvPr id="2" name="Titel 1">
            <a:extLst>
              <a:ext uri="{FF2B5EF4-FFF2-40B4-BE49-F238E27FC236}">
                <a16:creationId xmlns:a16="http://schemas.microsoft.com/office/drawing/2014/main" id="{5973B5E6-9F96-47FB-9015-5717A6662120}"/>
              </a:ext>
            </a:extLst>
          </p:cNvPr>
          <p:cNvSpPr>
            <a:spLocks noGrp="1"/>
          </p:cNvSpPr>
          <p:nvPr>
            <p:ph type="title"/>
          </p:nvPr>
        </p:nvSpPr>
        <p:spPr>
          <a:xfrm>
            <a:off x="371474" y="296696"/>
            <a:ext cx="10787828" cy="864052"/>
          </a:xfrm>
        </p:spPr>
        <p:txBody>
          <a:bodyPr/>
          <a:lstStyle/>
          <a:p>
            <a:r>
              <a:rPr lang="de-DE"/>
              <a:t>Fair </a:t>
            </a:r>
            <a:r>
              <a:rPr lang="de-DE" err="1"/>
              <a:t>communication</a:t>
            </a:r>
            <a:r>
              <a:rPr lang="de-DE"/>
              <a:t> at DB Cargo UK: </a:t>
            </a:r>
            <a:r>
              <a:rPr lang="de-DE" err="1"/>
              <a:t>we</a:t>
            </a:r>
            <a:r>
              <a:rPr lang="de-DE"/>
              <a:t> </a:t>
            </a:r>
            <a:r>
              <a:rPr lang="de-DE" err="1"/>
              <a:t>have</a:t>
            </a:r>
            <a:r>
              <a:rPr lang="de-DE"/>
              <a:t> professional </a:t>
            </a:r>
            <a:r>
              <a:rPr lang="de-DE" err="1"/>
              <a:t>driving</a:t>
            </a:r>
            <a:r>
              <a:rPr lang="de-DE"/>
              <a:t> </a:t>
            </a:r>
            <a:r>
              <a:rPr lang="de-DE" err="1"/>
              <a:t>standards</a:t>
            </a:r>
            <a:r>
              <a:rPr lang="de-DE"/>
              <a:t>, </a:t>
            </a:r>
            <a:r>
              <a:rPr lang="de-DE" err="1"/>
              <a:t>looked</a:t>
            </a:r>
            <a:r>
              <a:rPr lang="de-DE"/>
              <a:t> at </a:t>
            </a:r>
            <a:r>
              <a:rPr lang="de-DE" err="1"/>
              <a:t>by</a:t>
            </a:r>
            <a:r>
              <a:rPr lang="de-DE"/>
              <a:t> </a:t>
            </a:r>
            <a:r>
              <a:rPr lang="de-DE" err="1"/>
              <a:t>indicators</a:t>
            </a:r>
            <a:r>
              <a:rPr lang="de-DE"/>
              <a:t> and open </a:t>
            </a:r>
            <a:r>
              <a:rPr lang="de-DE" err="1"/>
              <a:t>feedback</a:t>
            </a:r>
            <a:r>
              <a:rPr lang="de-DE"/>
              <a:t> </a:t>
            </a:r>
            <a:r>
              <a:rPr lang="de-DE" err="1"/>
              <a:t>to</a:t>
            </a:r>
            <a:r>
              <a:rPr lang="de-DE"/>
              <a:t> </a:t>
            </a:r>
            <a:r>
              <a:rPr lang="de-DE" err="1"/>
              <a:t>drivers</a:t>
            </a:r>
            <a:endParaRPr lang="de-DE"/>
          </a:p>
        </p:txBody>
      </p:sp>
      <p:sp>
        <p:nvSpPr>
          <p:cNvPr id="3" name="Fußzeilenplatzhalter 2">
            <a:extLst>
              <a:ext uri="{FF2B5EF4-FFF2-40B4-BE49-F238E27FC236}">
                <a16:creationId xmlns:a16="http://schemas.microsoft.com/office/drawing/2014/main" id="{E95C0E9F-CD41-441B-9A98-1FB54FAD561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DB Sans"/>
                <a:ea typeface="+mn-ea"/>
                <a:cs typeface="+mn-cs"/>
              </a:rPr>
              <a:t>© DB Regio AG | R.RBE Eisenbahnbetriebsleiter</a:t>
            </a:r>
          </a:p>
        </p:txBody>
      </p:sp>
      <p:sp>
        <p:nvSpPr>
          <p:cNvPr id="4" name="Foliennummernplatzhalter 3">
            <a:extLst>
              <a:ext uri="{FF2B5EF4-FFF2-40B4-BE49-F238E27FC236}">
                <a16:creationId xmlns:a16="http://schemas.microsoft.com/office/drawing/2014/main" id="{C00EB3C2-9118-44DF-9CE9-BEFB8A7A20D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000" b="1" i="0" u="none" strike="noStrike" kern="1200" cap="none" spc="0" normalizeH="0" baseline="0" noProof="0">
              <a:ln>
                <a:noFill/>
              </a:ln>
              <a:solidFill>
                <a:prstClr val="black"/>
              </a:solidFill>
              <a:effectLst/>
              <a:uLnTx/>
              <a:uFillTx/>
              <a:latin typeface="DB Sans"/>
              <a:ea typeface="+mn-ea"/>
              <a:cs typeface="+mn-cs"/>
            </a:endParaRPr>
          </a:p>
        </p:txBody>
      </p:sp>
      <p:sp>
        <p:nvSpPr>
          <p:cNvPr id="19" name="Oval 7">
            <a:extLst>
              <a:ext uri="{FF2B5EF4-FFF2-40B4-BE49-F238E27FC236}">
                <a16:creationId xmlns:a16="http://schemas.microsoft.com/office/drawing/2014/main" id="{F6D45EA9-1571-48CC-B9C6-042DA4443615}"/>
              </a:ext>
            </a:extLst>
          </p:cNvPr>
          <p:cNvSpPr/>
          <p:nvPr/>
        </p:nvSpPr>
        <p:spPr bwMode="gray">
          <a:xfrm>
            <a:off x="1872594" y="1379216"/>
            <a:ext cx="995160" cy="79371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B Office"/>
              <a:ea typeface="+mn-ea"/>
              <a:cs typeface="+mn-cs"/>
            </a:endParaRPr>
          </a:p>
        </p:txBody>
      </p:sp>
      <p:cxnSp>
        <p:nvCxnSpPr>
          <p:cNvPr id="20" name="Straight Connector 26">
            <a:extLst>
              <a:ext uri="{FF2B5EF4-FFF2-40B4-BE49-F238E27FC236}">
                <a16:creationId xmlns:a16="http://schemas.microsoft.com/office/drawing/2014/main" id="{E4D4ED51-5F86-49FA-9710-A50FF213D819}"/>
              </a:ext>
            </a:extLst>
          </p:cNvPr>
          <p:cNvCxnSpPr/>
          <p:nvPr/>
        </p:nvCxnSpPr>
        <p:spPr>
          <a:xfrm flipV="1">
            <a:off x="2376650" y="2200537"/>
            <a:ext cx="0" cy="276791"/>
          </a:xfrm>
          <a:prstGeom prst="line">
            <a:avLst/>
          </a:prstGeom>
          <a:ln w="19050">
            <a:solidFill>
              <a:schemeClr val="bg2"/>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22" name="Straight Connector 33">
            <a:extLst>
              <a:ext uri="{FF2B5EF4-FFF2-40B4-BE49-F238E27FC236}">
                <a16:creationId xmlns:a16="http://schemas.microsoft.com/office/drawing/2014/main" id="{DBEE4EC9-5C2E-4EA8-ADAB-BBB9E0C065DC}"/>
              </a:ext>
            </a:extLst>
          </p:cNvPr>
          <p:cNvCxnSpPr/>
          <p:nvPr/>
        </p:nvCxnSpPr>
        <p:spPr>
          <a:xfrm>
            <a:off x="869092" y="2488568"/>
            <a:ext cx="3019726"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5" name="Rectangle 3">
            <a:extLst>
              <a:ext uri="{FF2B5EF4-FFF2-40B4-BE49-F238E27FC236}">
                <a16:creationId xmlns:a16="http://schemas.microsoft.com/office/drawing/2014/main" id="{5704471D-ABE4-4A3D-AD38-FD799F642F0D}"/>
              </a:ext>
            </a:extLst>
          </p:cNvPr>
          <p:cNvSpPr txBox="1">
            <a:spLocks noChangeArrowheads="1"/>
          </p:cNvSpPr>
          <p:nvPr/>
        </p:nvSpPr>
        <p:spPr bwMode="auto">
          <a:xfrm>
            <a:off x="864390" y="2710644"/>
            <a:ext cx="3024428" cy="2221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rgbClr val="FF0000"/>
              </a:buClr>
              <a:buSzPct val="85000"/>
              <a:buFont typeface="Wingdings" pitchFamily="2" charset="2"/>
              <a:buChar char="n"/>
              <a:defRPr sz="160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rgbClr val="FF0000"/>
              </a:buClr>
              <a:buFont typeface="Wingdings" pitchFamily="2" charset="2"/>
              <a:buChar char="§"/>
              <a:defRPr sz="160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5pPr>
            <a:lvl6pPr marL="1185863" indent="-182563" algn="l" rtl="0" eaLnBrk="1" fontAlgn="base" hangingPunct="1">
              <a:spcBef>
                <a:spcPct val="0"/>
              </a:spcBef>
              <a:spcAft>
                <a:spcPct val="0"/>
              </a:spcAft>
              <a:buClr>
                <a:srgbClr val="FF0000"/>
              </a:buClr>
              <a:buChar char="–"/>
              <a:defRPr sz="1600">
                <a:solidFill>
                  <a:schemeClr val="tx1"/>
                </a:solidFill>
                <a:latin typeface="+mn-lt"/>
              </a:defRPr>
            </a:lvl6pPr>
            <a:lvl7pPr marL="1643063" indent="-182563" algn="l" rtl="0" eaLnBrk="1" fontAlgn="base" hangingPunct="1">
              <a:spcBef>
                <a:spcPct val="0"/>
              </a:spcBef>
              <a:spcAft>
                <a:spcPct val="0"/>
              </a:spcAft>
              <a:buClr>
                <a:srgbClr val="FF0000"/>
              </a:buClr>
              <a:buChar char="–"/>
              <a:defRPr sz="1600">
                <a:solidFill>
                  <a:schemeClr val="tx1"/>
                </a:solidFill>
                <a:latin typeface="+mn-lt"/>
              </a:defRPr>
            </a:lvl7pPr>
            <a:lvl8pPr marL="2100263" indent="-182563" algn="l" rtl="0" eaLnBrk="1" fontAlgn="base" hangingPunct="1">
              <a:spcBef>
                <a:spcPct val="0"/>
              </a:spcBef>
              <a:spcAft>
                <a:spcPct val="0"/>
              </a:spcAft>
              <a:buClr>
                <a:srgbClr val="FF0000"/>
              </a:buClr>
              <a:buChar char="–"/>
              <a:defRPr sz="1600">
                <a:solidFill>
                  <a:schemeClr val="tx1"/>
                </a:solidFill>
                <a:latin typeface="+mn-lt"/>
              </a:defRPr>
            </a:lvl8pPr>
            <a:lvl9pPr marL="2557463" indent="-182563" algn="l" rtl="0" eaLnBrk="1" fontAlgn="base" hangingPunct="1">
              <a:spcBef>
                <a:spcPct val="0"/>
              </a:spcBef>
              <a:spcAft>
                <a:spcPct val="0"/>
              </a:spcAft>
              <a:buClr>
                <a:srgbClr val="FF0000"/>
              </a:buClr>
              <a:buChar char="–"/>
              <a:defRPr sz="1600">
                <a:solidFill>
                  <a:schemeClr val="tx1"/>
                </a:solidFill>
                <a:latin typeface="+mn-lt"/>
              </a:defRPr>
            </a:lvl9pPr>
          </a:lstStyle>
          <a:p>
            <a:pPr marL="0" marR="0" lvl="0" indent="0" algn="l" defTabSz="914400" rtl="0" eaLnBrk="1" fontAlgn="base" latinLnBrk="0" hangingPunct="1">
              <a:lnSpc>
                <a:spcPct val="100000"/>
              </a:lnSpc>
              <a:spcBef>
                <a:spcPts val="1200"/>
              </a:spcBef>
              <a:spcAft>
                <a:spcPct val="0"/>
              </a:spcAft>
              <a:buClrTx/>
              <a:buSzTx/>
              <a:buFontTx/>
              <a:buNone/>
              <a:tabLst/>
              <a:defRPr/>
            </a:pPr>
            <a:r>
              <a:rPr kumimoji="0" lang="de-DE" sz="1400" b="1" i="0" u="none" strike="noStrike" kern="1200" cap="none" spc="0" normalizeH="0" baseline="0" noProof="0" err="1">
                <a:ln>
                  <a:noFill/>
                </a:ln>
                <a:solidFill>
                  <a:srgbClr val="878C96"/>
                </a:solidFill>
                <a:effectLst/>
                <a:uLnTx/>
                <a:uFillTx/>
                <a:latin typeface="DB Office"/>
                <a:ea typeface="+mn-ea"/>
                <a:cs typeface="+mn-cs"/>
              </a:rPr>
              <a:t>Aim</a:t>
            </a:r>
            <a:r>
              <a:rPr kumimoji="0" lang="de-DE" sz="1400" b="1" i="0" u="none" strike="noStrike" kern="1200" cap="none" spc="0" normalizeH="0" baseline="0" noProof="0">
                <a:ln>
                  <a:noFill/>
                </a:ln>
                <a:solidFill>
                  <a:srgbClr val="878C96"/>
                </a:solidFill>
                <a:effectLst/>
                <a:uLnTx/>
                <a:uFillTx/>
                <a:latin typeface="DB Office"/>
                <a:ea typeface="+mn-ea"/>
                <a:cs typeface="+mn-cs"/>
              </a:rPr>
              <a:t>: DB Cargo UK </a:t>
            </a:r>
            <a:r>
              <a:rPr kumimoji="0" lang="de-DE" sz="1400" b="1" i="0" u="none" strike="noStrike" kern="1200" cap="none" spc="0" normalizeH="0" baseline="0" noProof="0" err="1">
                <a:ln>
                  <a:noFill/>
                </a:ln>
                <a:solidFill>
                  <a:srgbClr val="878C96"/>
                </a:solidFill>
                <a:effectLst/>
                <a:uLnTx/>
                <a:uFillTx/>
                <a:latin typeface="DB Office"/>
                <a:ea typeface="+mn-ea"/>
                <a:cs typeface="+mn-cs"/>
              </a:rPr>
              <a:t>drivers</a:t>
            </a:r>
            <a:r>
              <a:rPr kumimoji="0" lang="de-DE" sz="1400" b="1" i="0" u="none" strike="noStrike" kern="1200" cap="none" spc="0" normalizeH="0" baseline="0" noProof="0">
                <a:ln>
                  <a:noFill/>
                </a:ln>
                <a:solidFill>
                  <a:srgbClr val="878C96"/>
                </a:solidFill>
                <a:effectLst/>
                <a:uLnTx/>
                <a:uFillTx/>
                <a:latin typeface="DB Office"/>
                <a:ea typeface="+mn-ea"/>
                <a:cs typeface="+mn-cs"/>
              </a:rPr>
              <a:t> </a:t>
            </a:r>
            <a:r>
              <a:rPr kumimoji="0" lang="de-DE" sz="1400" b="1" i="0" u="none" strike="noStrike" kern="1200" cap="none" spc="0" normalizeH="0" baseline="0" noProof="0" err="1">
                <a:ln>
                  <a:noFill/>
                </a:ln>
                <a:solidFill>
                  <a:srgbClr val="878C96"/>
                </a:solidFill>
                <a:effectLst/>
                <a:uLnTx/>
                <a:uFillTx/>
                <a:latin typeface="DB Office"/>
                <a:ea typeface="+mn-ea"/>
                <a:cs typeface="+mn-cs"/>
              </a:rPr>
              <a:t>have</a:t>
            </a:r>
            <a:r>
              <a:rPr kumimoji="0" lang="de-DE" sz="1400" b="1" i="0" u="none" strike="noStrike" kern="1200" cap="none" spc="0" normalizeH="0" baseline="0" noProof="0">
                <a:ln>
                  <a:noFill/>
                </a:ln>
                <a:solidFill>
                  <a:srgbClr val="878C96"/>
                </a:solidFill>
                <a:effectLst/>
                <a:uLnTx/>
                <a:uFillTx/>
                <a:latin typeface="DB Office"/>
                <a:ea typeface="+mn-ea"/>
                <a:cs typeface="+mn-cs"/>
              </a:rPr>
              <a:t> a high </a:t>
            </a:r>
            <a:r>
              <a:rPr kumimoji="0" lang="de-DE" sz="1400" b="1" i="0" u="none" strike="noStrike" kern="1200" cap="none" spc="0" normalizeH="0" baseline="0" noProof="0" err="1">
                <a:ln>
                  <a:noFill/>
                </a:ln>
                <a:solidFill>
                  <a:srgbClr val="878C96"/>
                </a:solidFill>
                <a:effectLst/>
                <a:uLnTx/>
                <a:uFillTx/>
                <a:latin typeface="DB Office"/>
                <a:ea typeface="+mn-ea"/>
                <a:cs typeface="+mn-cs"/>
              </a:rPr>
              <a:t>standard</a:t>
            </a:r>
            <a:r>
              <a:rPr kumimoji="0" lang="de-DE" sz="1400" b="1" i="0" u="none" strike="noStrike" kern="1200" cap="none" spc="0" normalizeH="0" baseline="0" noProof="0">
                <a:ln>
                  <a:noFill/>
                </a:ln>
                <a:solidFill>
                  <a:srgbClr val="878C96"/>
                </a:solidFill>
                <a:effectLst/>
                <a:uLnTx/>
                <a:uFillTx/>
                <a:latin typeface="DB Office"/>
                <a:ea typeface="+mn-ea"/>
                <a:cs typeface="+mn-cs"/>
              </a:rPr>
              <a:t> </a:t>
            </a:r>
            <a:r>
              <a:rPr kumimoji="0" lang="de-DE" sz="1400" b="1" i="0" u="none" strike="noStrike" kern="1200" cap="none" spc="0" normalizeH="0" baseline="0" noProof="0" err="1">
                <a:ln>
                  <a:noFill/>
                </a:ln>
                <a:solidFill>
                  <a:srgbClr val="878C96"/>
                </a:solidFill>
                <a:effectLst/>
                <a:uLnTx/>
                <a:uFillTx/>
                <a:latin typeface="DB Office"/>
                <a:ea typeface="+mn-ea"/>
                <a:cs typeface="+mn-cs"/>
              </a:rPr>
              <a:t>of</a:t>
            </a:r>
            <a:r>
              <a:rPr kumimoji="0" lang="de-DE" sz="1400" b="1" i="0" u="none" strike="noStrike" kern="1200" cap="none" spc="0" normalizeH="0" baseline="0" noProof="0">
                <a:ln>
                  <a:noFill/>
                </a:ln>
                <a:solidFill>
                  <a:srgbClr val="878C96"/>
                </a:solidFill>
                <a:effectLst/>
                <a:uLnTx/>
                <a:uFillTx/>
                <a:latin typeface="DB Office"/>
                <a:ea typeface="+mn-ea"/>
                <a:cs typeface="+mn-cs"/>
              </a:rPr>
              <a:t> </a:t>
            </a:r>
            <a:r>
              <a:rPr kumimoji="0" lang="de-DE" sz="1400" b="1" i="0" u="none" strike="noStrike" kern="1200" cap="none" spc="0" normalizeH="0" baseline="0" noProof="0" err="1">
                <a:ln>
                  <a:noFill/>
                </a:ln>
                <a:solidFill>
                  <a:srgbClr val="878C96"/>
                </a:solidFill>
                <a:effectLst/>
                <a:uLnTx/>
                <a:uFillTx/>
                <a:latin typeface="DB Office"/>
                <a:ea typeface="+mn-ea"/>
                <a:cs typeface="+mn-cs"/>
              </a:rPr>
              <a:t>professionelism</a:t>
            </a:r>
            <a:r>
              <a:rPr kumimoji="0" lang="de-DE" sz="1400" b="1" i="0" u="none" strike="noStrike" kern="1200" cap="none" spc="0" normalizeH="0" baseline="0" noProof="0">
                <a:ln>
                  <a:noFill/>
                </a:ln>
                <a:solidFill>
                  <a:srgbClr val="878C96"/>
                </a:solidFill>
                <a:effectLst/>
                <a:uLnTx/>
                <a:uFillTx/>
                <a:latin typeface="DB Office"/>
                <a:ea typeface="+mn-ea"/>
                <a:cs typeface="+mn-cs"/>
              </a:rPr>
              <a:t> </a:t>
            </a:r>
            <a:endParaRPr kumimoji="0" lang="de-DE" altLang="de-DE" sz="1400" b="1" i="0" u="none" strike="noStrike" kern="1200" cap="none" spc="0" normalizeH="0" baseline="0" noProof="0">
              <a:ln>
                <a:noFill/>
              </a:ln>
              <a:solidFill>
                <a:srgbClr val="878C96"/>
              </a:solidFill>
              <a:effectLst/>
              <a:uLnTx/>
              <a:uFillTx/>
              <a:latin typeface="DB Office"/>
              <a:ea typeface="+mn-ea"/>
              <a:cs typeface="+mn-cs"/>
            </a:endParaRP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de-DE" altLang="de-DE" sz="1400" b="1" i="0" u="none" strike="noStrike" kern="1200" cap="none" spc="0" normalizeH="0" baseline="0" noProof="0">
                <a:ln>
                  <a:noFill/>
                </a:ln>
                <a:solidFill>
                  <a:srgbClr val="000000"/>
                </a:solidFill>
                <a:effectLst/>
                <a:uLnTx/>
                <a:uFillTx/>
                <a:latin typeface="DB Office"/>
                <a:ea typeface="+mn-ea"/>
                <a:cs typeface="+mn-cs"/>
              </a:rPr>
              <a:t>Safe,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punctual</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nd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eco</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friendly</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de-DE" altLang="de-DE" sz="1400" b="0" i="0" u="none" strike="noStrike" kern="1200" cap="none" spc="0" normalizeH="0" baseline="0" noProof="0">
                <a:ln>
                  <a:noFill/>
                </a:ln>
                <a:solidFill>
                  <a:srgbClr val="000000"/>
                </a:solidFill>
                <a:effectLst/>
                <a:uLnTx/>
                <a:uFillTx/>
                <a:latin typeface="DB Office"/>
                <a:ea typeface="+mn-ea"/>
                <a:cs typeface="+mn-cs"/>
              </a:rPr>
              <a:t>DB Regio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has</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training</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modul</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for</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ll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its</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drivers</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setting</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down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professionel</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driving</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techniques</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a:t>
            </a: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de-DE" altLang="de-DE" sz="1400" b="0" i="0" u="none" strike="noStrike" kern="1200" cap="none" spc="0" normalizeH="0" baseline="0" noProof="0">
                <a:ln>
                  <a:noFill/>
                </a:ln>
                <a:solidFill>
                  <a:srgbClr val="000000"/>
                </a:solidFill>
                <a:effectLst/>
                <a:uLnTx/>
                <a:uFillTx/>
                <a:latin typeface="DB Office"/>
                <a:ea typeface="+mn-ea"/>
                <a:cs typeface="+mn-cs"/>
              </a:rPr>
              <a:t>DB Cargo UK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has</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set</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down ist </a:t>
            </a:r>
            <a:r>
              <a:rPr kumimoji="0" lang="de-DE" altLang="de-DE" sz="1400" b="1" i="0" u="none" strike="noStrike" kern="1200" cap="none" spc="0" normalizeH="0" baseline="0" noProof="0">
                <a:ln>
                  <a:noFill/>
                </a:ln>
                <a:solidFill>
                  <a:srgbClr val="000000"/>
                </a:solidFill>
                <a:effectLst/>
                <a:uLnTx/>
                <a:uFillTx/>
                <a:latin typeface="DB Office"/>
                <a:ea typeface="+mn-ea"/>
                <a:cs typeface="+mn-cs"/>
              </a:rPr>
              <a:t>Professional </a:t>
            </a:r>
            <a:r>
              <a:rPr kumimoji="0" lang="de-DE" altLang="de-DE" sz="1400" b="1" i="0" u="none" strike="noStrike" kern="1200" cap="none" spc="0" normalizeH="0" baseline="0" noProof="0" err="1">
                <a:ln>
                  <a:noFill/>
                </a:ln>
                <a:solidFill>
                  <a:srgbClr val="000000"/>
                </a:solidFill>
                <a:effectLst/>
                <a:uLnTx/>
                <a:uFillTx/>
                <a:latin typeface="DB Office"/>
                <a:ea typeface="+mn-ea"/>
                <a:cs typeface="+mn-cs"/>
              </a:rPr>
              <a:t>Driving</a:t>
            </a:r>
            <a:r>
              <a:rPr kumimoji="0" lang="de-DE" altLang="de-DE" sz="1400" b="1"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Policy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as</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part</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of</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a:t>
            </a:r>
            <a:r>
              <a:rPr kumimoji="0" lang="de-DE" altLang="de-DE" sz="1400" b="0" i="0" u="none" strike="noStrike" kern="1200" cap="none" spc="0" normalizeH="0" baseline="0" noProof="0" err="1">
                <a:ln>
                  <a:noFill/>
                </a:ln>
                <a:solidFill>
                  <a:srgbClr val="000000"/>
                </a:solidFill>
                <a:effectLst/>
                <a:uLnTx/>
                <a:uFillTx/>
                <a:latin typeface="DB Office"/>
                <a:ea typeface="+mn-ea"/>
                <a:cs typeface="+mn-cs"/>
              </a:rPr>
              <a:t>its</a:t>
            </a:r>
            <a:r>
              <a:rPr kumimoji="0" lang="de-DE" altLang="de-DE" sz="1400" b="0" i="0" u="none" strike="noStrike" kern="1200" cap="none" spc="0" normalizeH="0" baseline="0" noProof="0">
                <a:ln>
                  <a:noFill/>
                </a:ln>
                <a:solidFill>
                  <a:srgbClr val="000000"/>
                </a:solidFill>
                <a:effectLst/>
                <a:uLnTx/>
                <a:uFillTx/>
                <a:latin typeface="DB Office"/>
                <a:ea typeface="+mn-ea"/>
                <a:cs typeface="+mn-cs"/>
              </a:rPr>
              <a:t> SMS</a:t>
            </a:r>
          </a:p>
        </p:txBody>
      </p:sp>
      <p:cxnSp>
        <p:nvCxnSpPr>
          <p:cNvPr id="26" name="Straight Connector 26">
            <a:extLst>
              <a:ext uri="{FF2B5EF4-FFF2-40B4-BE49-F238E27FC236}">
                <a16:creationId xmlns:a16="http://schemas.microsoft.com/office/drawing/2014/main" id="{5C60F1B5-0841-4821-B9F2-9ECCDBD05BC9}"/>
              </a:ext>
            </a:extLst>
          </p:cNvPr>
          <p:cNvCxnSpPr/>
          <p:nvPr/>
        </p:nvCxnSpPr>
        <p:spPr>
          <a:xfrm flipV="1">
            <a:off x="5670907" y="2211778"/>
            <a:ext cx="0" cy="276791"/>
          </a:xfrm>
          <a:prstGeom prst="line">
            <a:avLst/>
          </a:prstGeom>
          <a:ln w="19050">
            <a:solidFill>
              <a:schemeClr val="bg2"/>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33">
            <a:extLst>
              <a:ext uri="{FF2B5EF4-FFF2-40B4-BE49-F238E27FC236}">
                <a16:creationId xmlns:a16="http://schemas.microsoft.com/office/drawing/2014/main" id="{61A9A1B7-AF31-4F97-81A7-A89BE85FA6EF}"/>
              </a:ext>
            </a:extLst>
          </p:cNvPr>
          <p:cNvCxnSpPr/>
          <p:nvPr/>
        </p:nvCxnSpPr>
        <p:spPr>
          <a:xfrm>
            <a:off x="4108484" y="2488568"/>
            <a:ext cx="3019726"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8" name="Rectangle 3">
            <a:extLst>
              <a:ext uri="{FF2B5EF4-FFF2-40B4-BE49-F238E27FC236}">
                <a16:creationId xmlns:a16="http://schemas.microsoft.com/office/drawing/2014/main" id="{F25D023A-0629-48C2-9AB5-F8C210322971}"/>
              </a:ext>
            </a:extLst>
          </p:cNvPr>
          <p:cNvSpPr txBox="1">
            <a:spLocks noChangeArrowheads="1"/>
          </p:cNvSpPr>
          <p:nvPr/>
        </p:nvSpPr>
        <p:spPr bwMode="auto">
          <a:xfrm>
            <a:off x="4103781" y="2710644"/>
            <a:ext cx="3045937"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rgbClr val="FF0000"/>
              </a:buClr>
              <a:buSzPct val="85000"/>
              <a:buFont typeface="Wingdings" pitchFamily="2" charset="2"/>
              <a:buChar char="n"/>
              <a:defRPr sz="160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rgbClr val="FF0000"/>
              </a:buClr>
              <a:buFont typeface="Wingdings" pitchFamily="2" charset="2"/>
              <a:buChar char="§"/>
              <a:defRPr sz="160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5pPr>
            <a:lvl6pPr marL="1185863" indent="-182563" algn="l" rtl="0" eaLnBrk="1" fontAlgn="base" hangingPunct="1">
              <a:spcBef>
                <a:spcPct val="0"/>
              </a:spcBef>
              <a:spcAft>
                <a:spcPct val="0"/>
              </a:spcAft>
              <a:buClr>
                <a:srgbClr val="FF0000"/>
              </a:buClr>
              <a:buChar char="–"/>
              <a:defRPr sz="1600">
                <a:solidFill>
                  <a:schemeClr val="tx1"/>
                </a:solidFill>
                <a:latin typeface="+mn-lt"/>
              </a:defRPr>
            </a:lvl6pPr>
            <a:lvl7pPr marL="1643063" indent="-182563" algn="l" rtl="0" eaLnBrk="1" fontAlgn="base" hangingPunct="1">
              <a:spcBef>
                <a:spcPct val="0"/>
              </a:spcBef>
              <a:spcAft>
                <a:spcPct val="0"/>
              </a:spcAft>
              <a:buClr>
                <a:srgbClr val="FF0000"/>
              </a:buClr>
              <a:buChar char="–"/>
              <a:defRPr sz="1600">
                <a:solidFill>
                  <a:schemeClr val="tx1"/>
                </a:solidFill>
                <a:latin typeface="+mn-lt"/>
              </a:defRPr>
            </a:lvl7pPr>
            <a:lvl8pPr marL="2100263" indent="-182563" algn="l" rtl="0" eaLnBrk="1" fontAlgn="base" hangingPunct="1">
              <a:spcBef>
                <a:spcPct val="0"/>
              </a:spcBef>
              <a:spcAft>
                <a:spcPct val="0"/>
              </a:spcAft>
              <a:buClr>
                <a:srgbClr val="FF0000"/>
              </a:buClr>
              <a:buChar char="–"/>
              <a:defRPr sz="1600">
                <a:solidFill>
                  <a:schemeClr val="tx1"/>
                </a:solidFill>
                <a:latin typeface="+mn-lt"/>
              </a:defRPr>
            </a:lvl8pPr>
            <a:lvl9pPr marL="2557463" indent="-182563" algn="l" rtl="0" eaLnBrk="1" fontAlgn="base" hangingPunct="1">
              <a:spcBef>
                <a:spcPct val="0"/>
              </a:spcBef>
              <a:spcAft>
                <a:spcPct val="0"/>
              </a:spcAft>
              <a:buClr>
                <a:srgbClr val="FF0000"/>
              </a:buClr>
              <a:buChar char="–"/>
              <a:defRPr sz="1600">
                <a:solidFill>
                  <a:schemeClr val="tx1"/>
                </a:solidFill>
                <a:latin typeface="+mn-lt"/>
              </a:defRPr>
            </a:lvl9pPr>
          </a:lstStyle>
          <a:p>
            <a:pPr marL="0" marR="0" lvl="0" indent="0" algn="l" defTabSz="914400" rtl="0" eaLnBrk="1" fontAlgn="base" latinLnBrk="0" hangingPunct="1">
              <a:lnSpc>
                <a:spcPct val="100000"/>
              </a:lnSpc>
              <a:spcBef>
                <a:spcPts val="1200"/>
              </a:spcBef>
              <a:spcAft>
                <a:spcPct val="0"/>
              </a:spcAft>
              <a:buClrTx/>
              <a:buSzTx/>
              <a:buFontTx/>
              <a:buNone/>
              <a:tabLst/>
              <a:defRPr/>
            </a:pPr>
            <a:r>
              <a:rPr kumimoji="0" lang="de-DE" sz="1400" b="1" i="0" u="none" strike="noStrike" kern="1200" cap="none" spc="0" normalizeH="0" baseline="0" noProof="0">
                <a:ln>
                  <a:noFill/>
                </a:ln>
                <a:solidFill>
                  <a:srgbClr val="878C96"/>
                </a:solidFill>
                <a:effectLst/>
                <a:uLnTx/>
                <a:uFillTx/>
                <a:latin typeface="DB Office"/>
                <a:ea typeface="+mn-ea"/>
                <a:cs typeface="+mn-cs"/>
              </a:rPr>
              <a:t>On board unit sends driving data preindicators</a:t>
            </a:r>
            <a:endParaRPr kumimoji="0" lang="de-DE" altLang="de-DE" sz="1400" b="1" i="0" u="none" strike="noStrike" kern="1200" cap="none" spc="0" normalizeH="0" baseline="0" noProof="0">
              <a:ln>
                <a:noFill/>
              </a:ln>
              <a:solidFill>
                <a:srgbClr val="878C96"/>
              </a:solidFill>
              <a:effectLst/>
              <a:uLnTx/>
              <a:uFillTx/>
              <a:latin typeface="DB Office"/>
              <a:ea typeface="+mn-ea"/>
              <a:cs typeface="+mn-cs"/>
            </a:endParaRP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This automated weekly report shows the number of QTRON exceptions by highlighting 11 </a:t>
            </a:r>
            <a:r>
              <a:rPr kumimoji="0" lang="en-GB" sz="1400" b="1"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violations of the DB Cargo UK professional drivers policy.</a:t>
            </a: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It identifies the </a:t>
            </a:r>
            <a:r>
              <a:rPr kumimoji="0" lang="en-GB" sz="1400" b="1"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precursor events </a:t>
            </a: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that we believe contribute towards major incidents.</a:t>
            </a:r>
          </a:p>
          <a:p>
            <a:pPr marL="358775" marR="0" lvl="2" indent="-180000" algn="l" defTabSz="914400" rtl="0" eaLnBrk="1" fontAlgn="base" latinLnBrk="0" hangingPunct="1">
              <a:lnSpc>
                <a:spcPct val="100000"/>
              </a:lnSpc>
              <a:spcBef>
                <a:spcPts val="300"/>
              </a:spcBef>
              <a:spcAft>
                <a:spcPct val="0"/>
              </a:spcAft>
              <a:buClr>
                <a:srgbClr val="FF0000"/>
              </a:buClr>
              <a:buSzTx/>
              <a:buFontTx/>
              <a:buChar char="–"/>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Dragging Brake </a:t>
            </a:r>
          </a:p>
          <a:p>
            <a:pPr marL="358775" marR="0" lvl="2" indent="-180000" algn="l" defTabSz="914400" rtl="0" eaLnBrk="1" fontAlgn="base" latinLnBrk="0" hangingPunct="1">
              <a:lnSpc>
                <a:spcPct val="100000"/>
              </a:lnSpc>
              <a:spcBef>
                <a:spcPts val="300"/>
              </a:spcBef>
              <a:spcAft>
                <a:spcPct val="0"/>
              </a:spcAft>
              <a:buClr>
                <a:srgbClr val="FF0000"/>
              </a:buClr>
              <a:buSzTx/>
              <a:buFontTx/>
              <a:buChar char="–"/>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Emergency Brake Operated</a:t>
            </a:r>
          </a:p>
          <a:p>
            <a:pPr marL="358775" marR="0" lvl="2" indent="-180000" algn="l" defTabSz="914400" rtl="0" eaLnBrk="1" fontAlgn="base" latinLnBrk="0" hangingPunct="1">
              <a:lnSpc>
                <a:spcPct val="100000"/>
              </a:lnSpc>
              <a:spcBef>
                <a:spcPts val="300"/>
              </a:spcBef>
              <a:spcAft>
                <a:spcPct val="0"/>
              </a:spcAft>
              <a:buClr>
                <a:srgbClr val="FF0000"/>
              </a:buClr>
              <a:buSzTx/>
              <a:buFontTx/>
              <a:buChar char="–"/>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t>Final approach to potential red aspect over 15mph</a:t>
            </a:r>
          </a:p>
          <a:p>
            <a:pPr marL="358775" marR="0" lvl="2" indent="-180000" algn="l" defTabSz="914400" rtl="0" eaLnBrk="1" fontAlgn="base" latinLnBrk="0" hangingPunct="1">
              <a:lnSpc>
                <a:spcPct val="100000"/>
              </a:lnSpc>
              <a:spcBef>
                <a:spcPts val="300"/>
              </a:spcBef>
              <a:spcAft>
                <a:spcPct val="0"/>
              </a:spcAft>
              <a:buClr>
                <a:srgbClr val="FF0000"/>
              </a:buClr>
              <a:buSzTx/>
              <a:buFontTx/>
              <a:buChar char="–"/>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mn-ea"/>
                <a:cs typeface="Times New Roman" panose="02020603050405020304" pitchFamily="18" charset="0"/>
              </a:rPr>
              <a:t>…</a:t>
            </a:r>
            <a:br>
              <a:rPr kumimoji="0" lang="de-DE"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br>
            <a:br>
              <a:rPr kumimoji="0" lang="de-DE" sz="1400" b="0" i="0" u="none" strike="noStrike" kern="1200" cap="none" spc="0" normalizeH="0" baseline="0" noProof="0">
                <a:ln>
                  <a:noFill/>
                </a:ln>
                <a:solidFill>
                  <a:srgbClr val="212121"/>
                </a:solidFill>
                <a:effectLst/>
                <a:uLnTx/>
                <a:uFillTx/>
                <a:latin typeface="DB Office" panose="020B0604020202020204" pitchFamily="34" charset="0"/>
                <a:ea typeface="Times New Roman" panose="02020603050405020304" pitchFamily="18" charset="0"/>
                <a:cs typeface="Times New Roman" panose="02020603050405020304" pitchFamily="18" charset="0"/>
              </a:rPr>
            </a:br>
            <a:endParaRPr kumimoji="0" lang="de-DE" altLang="de-DE" sz="1400" b="0" i="0" u="none" strike="noStrike" kern="1200" cap="none" spc="0" normalizeH="0" baseline="0" noProof="0">
              <a:ln>
                <a:noFill/>
              </a:ln>
              <a:solidFill>
                <a:srgbClr val="000000"/>
              </a:solidFill>
              <a:effectLst/>
              <a:uLnTx/>
              <a:uFillTx/>
              <a:latin typeface="DB Office"/>
              <a:ea typeface="+mn-ea"/>
              <a:cs typeface="+mn-cs"/>
            </a:endParaRPr>
          </a:p>
          <a:p>
            <a:pPr marL="0" marR="0" lvl="1" indent="0" algn="l" defTabSz="914400" rtl="0" eaLnBrk="1" fontAlgn="base" latinLnBrk="0" hangingPunct="1">
              <a:lnSpc>
                <a:spcPct val="100000"/>
              </a:lnSpc>
              <a:spcBef>
                <a:spcPts val="1200"/>
              </a:spcBef>
              <a:spcAft>
                <a:spcPct val="0"/>
              </a:spcAft>
              <a:buClr>
                <a:srgbClr val="FF0000"/>
              </a:buClr>
              <a:buSzPct val="85000"/>
              <a:buFont typeface="Wingdings" pitchFamily="2" charset="2"/>
              <a:buNone/>
              <a:tabLst/>
              <a:defRPr/>
            </a:pPr>
            <a:endParaRPr kumimoji="0" lang="de-DE" altLang="de-DE" sz="1400" b="0" i="0" u="none" strike="noStrike" kern="1200" cap="none" spc="0" normalizeH="0" baseline="0" noProof="0">
              <a:ln>
                <a:noFill/>
              </a:ln>
              <a:solidFill>
                <a:srgbClr val="000000"/>
              </a:solidFill>
              <a:effectLst/>
              <a:uLnTx/>
              <a:uFillTx/>
              <a:latin typeface="DB Office"/>
              <a:ea typeface="+mn-ea"/>
              <a:cs typeface="+mn-cs"/>
            </a:endParaRP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endParaRPr kumimoji="0" lang="de-DE" altLang="de-DE" sz="1400" b="0" i="0" u="none" strike="noStrike" kern="1200" cap="none" spc="0" normalizeH="0" baseline="0" noProof="0">
              <a:ln>
                <a:noFill/>
              </a:ln>
              <a:solidFill>
                <a:srgbClr val="000000"/>
              </a:solidFill>
              <a:effectLst/>
              <a:uLnTx/>
              <a:uFillTx/>
              <a:latin typeface="DB Office"/>
              <a:ea typeface="+mn-ea"/>
              <a:cs typeface="+mn-cs"/>
            </a:endParaRPr>
          </a:p>
          <a:p>
            <a:pPr marL="0" marR="0" lvl="1" indent="0" algn="l" defTabSz="914400" rtl="0" eaLnBrk="1" fontAlgn="base" latinLnBrk="0" hangingPunct="1">
              <a:lnSpc>
                <a:spcPct val="100000"/>
              </a:lnSpc>
              <a:spcBef>
                <a:spcPts val="1200"/>
              </a:spcBef>
              <a:spcAft>
                <a:spcPct val="0"/>
              </a:spcAft>
              <a:buClr>
                <a:srgbClr val="FF0000"/>
              </a:buClr>
              <a:buSzPct val="85000"/>
              <a:buFont typeface="Wingdings" pitchFamily="2" charset="2"/>
              <a:buNone/>
              <a:tabLst/>
              <a:defRPr/>
            </a:pPr>
            <a:endParaRPr kumimoji="0" lang="de-DE" altLang="de-DE" sz="1400" b="0" i="0" u="none" strike="noStrike" kern="1200" cap="none" spc="0" normalizeH="0" baseline="0" noProof="0">
              <a:ln>
                <a:noFill/>
              </a:ln>
              <a:solidFill>
                <a:srgbClr val="000000"/>
              </a:solidFill>
              <a:effectLst/>
              <a:uLnTx/>
              <a:uFillTx/>
              <a:latin typeface="DB Office"/>
              <a:ea typeface="+mn-ea"/>
              <a:cs typeface="+mn-cs"/>
            </a:endParaRPr>
          </a:p>
        </p:txBody>
      </p:sp>
      <p:cxnSp>
        <p:nvCxnSpPr>
          <p:cNvPr id="29" name="Straight Connector 26">
            <a:extLst>
              <a:ext uri="{FF2B5EF4-FFF2-40B4-BE49-F238E27FC236}">
                <a16:creationId xmlns:a16="http://schemas.microsoft.com/office/drawing/2014/main" id="{2A2DEE17-BB54-446D-BC16-1529BEBE3699}"/>
              </a:ext>
            </a:extLst>
          </p:cNvPr>
          <p:cNvCxnSpPr>
            <a:cxnSpLocks/>
          </p:cNvCxnSpPr>
          <p:nvPr/>
        </p:nvCxnSpPr>
        <p:spPr>
          <a:xfrm flipV="1">
            <a:off x="8840653" y="2200537"/>
            <a:ext cx="0" cy="286315"/>
          </a:xfrm>
          <a:prstGeom prst="line">
            <a:avLst/>
          </a:prstGeom>
          <a:ln w="19050">
            <a:solidFill>
              <a:schemeClr val="bg2"/>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30" name="Straight Connector 33">
            <a:extLst>
              <a:ext uri="{FF2B5EF4-FFF2-40B4-BE49-F238E27FC236}">
                <a16:creationId xmlns:a16="http://schemas.microsoft.com/office/drawing/2014/main" id="{B2FB1B4E-C49F-44D7-A26C-1958D65A62D1}"/>
              </a:ext>
            </a:extLst>
          </p:cNvPr>
          <p:cNvCxnSpPr/>
          <p:nvPr/>
        </p:nvCxnSpPr>
        <p:spPr>
          <a:xfrm>
            <a:off x="7339544" y="2486853"/>
            <a:ext cx="3019726"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0F20987A-D699-4153-9558-F6BF494EAF13}"/>
              </a:ext>
            </a:extLst>
          </p:cNvPr>
          <p:cNvSpPr txBox="1">
            <a:spLocks noChangeArrowheads="1"/>
          </p:cNvSpPr>
          <p:nvPr/>
        </p:nvSpPr>
        <p:spPr bwMode="auto">
          <a:xfrm>
            <a:off x="7343173" y="2708919"/>
            <a:ext cx="3297116" cy="1943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rgbClr val="FF0000"/>
              </a:buClr>
              <a:buSzPct val="85000"/>
              <a:buFont typeface="Wingdings" pitchFamily="2" charset="2"/>
              <a:buChar char="n"/>
              <a:defRPr sz="160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rgbClr val="FF0000"/>
              </a:buClr>
              <a:buFont typeface="Wingdings" pitchFamily="2" charset="2"/>
              <a:buChar char="§"/>
              <a:defRPr sz="160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5pPr>
            <a:lvl6pPr marL="1185863" indent="-182563" algn="l" rtl="0" eaLnBrk="1" fontAlgn="base" hangingPunct="1">
              <a:spcBef>
                <a:spcPct val="0"/>
              </a:spcBef>
              <a:spcAft>
                <a:spcPct val="0"/>
              </a:spcAft>
              <a:buClr>
                <a:srgbClr val="FF0000"/>
              </a:buClr>
              <a:buChar char="–"/>
              <a:defRPr sz="1600">
                <a:solidFill>
                  <a:schemeClr val="tx1"/>
                </a:solidFill>
                <a:latin typeface="+mn-lt"/>
              </a:defRPr>
            </a:lvl6pPr>
            <a:lvl7pPr marL="1643063" indent="-182563" algn="l" rtl="0" eaLnBrk="1" fontAlgn="base" hangingPunct="1">
              <a:spcBef>
                <a:spcPct val="0"/>
              </a:spcBef>
              <a:spcAft>
                <a:spcPct val="0"/>
              </a:spcAft>
              <a:buClr>
                <a:srgbClr val="FF0000"/>
              </a:buClr>
              <a:buChar char="–"/>
              <a:defRPr sz="1600">
                <a:solidFill>
                  <a:schemeClr val="tx1"/>
                </a:solidFill>
                <a:latin typeface="+mn-lt"/>
              </a:defRPr>
            </a:lvl7pPr>
            <a:lvl8pPr marL="2100263" indent="-182563" algn="l" rtl="0" eaLnBrk="1" fontAlgn="base" hangingPunct="1">
              <a:spcBef>
                <a:spcPct val="0"/>
              </a:spcBef>
              <a:spcAft>
                <a:spcPct val="0"/>
              </a:spcAft>
              <a:buClr>
                <a:srgbClr val="FF0000"/>
              </a:buClr>
              <a:buChar char="–"/>
              <a:defRPr sz="1600">
                <a:solidFill>
                  <a:schemeClr val="tx1"/>
                </a:solidFill>
                <a:latin typeface="+mn-lt"/>
              </a:defRPr>
            </a:lvl8pPr>
            <a:lvl9pPr marL="2557463" indent="-182563" algn="l" rtl="0" eaLnBrk="1" fontAlgn="base" hangingPunct="1">
              <a:spcBef>
                <a:spcPct val="0"/>
              </a:spcBef>
              <a:spcAft>
                <a:spcPct val="0"/>
              </a:spcAft>
              <a:buClr>
                <a:srgbClr val="FF0000"/>
              </a:buClr>
              <a:buChar char="–"/>
              <a:defRPr sz="1600">
                <a:solidFill>
                  <a:schemeClr val="tx1"/>
                </a:solidFill>
                <a:latin typeface="+mn-lt"/>
              </a:defRPr>
            </a:lvl9pPr>
          </a:lstStyle>
          <a:p>
            <a:pPr marL="0" marR="0" lvl="0" indent="0" algn="l" defTabSz="914400" rtl="0" eaLnBrk="1" fontAlgn="base" latinLnBrk="0" hangingPunct="1">
              <a:lnSpc>
                <a:spcPct val="100000"/>
              </a:lnSpc>
              <a:spcBef>
                <a:spcPts val="1200"/>
              </a:spcBef>
              <a:spcAft>
                <a:spcPct val="0"/>
              </a:spcAft>
              <a:buClrTx/>
              <a:buSzTx/>
              <a:buFontTx/>
              <a:buNone/>
              <a:tabLst/>
              <a:defRPr/>
            </a:pPr>
            <a:r>
              <a:rPr kumimoji="0" lang="de-DE" sz="1400" b="1" i="0" u="none" strike="noStrike" kern="1200" cap="none" spc="0" normalizeH="0" baseline="0" noProof="0">
                <a:ln>
                  <a:noFill/>
                </a:ln>
                <a:solidFill>
                  <a:srgbClr val="878C96"/>
                </a:solidFill>
                <a:effectLst/>
                <a:uLnTx/>
                <a:uFillTx/>
                <a:latin typeface="DB Office"/>
                <a:ea typeface="+mn-ea"/>
                <a:cs typeface="+mn-cs"/>
              </a:rPr>
              <a:t>Feedback </a:t>
            </a:r>
            <a:r>
              <a:rPr kumimoji="0" lang="de-DE" sz="1400" b="1" i="0" u="none" strike="noStrike" kern="1200" cap="none" spc="0" normalizeH="0" baseline="0" noProof="0" err="1">
                <a:ln>
                  <a:noFill/>
                </a:ln>
                <a:solidFill>
                  <a:srgbClr val="878C96"/>
                </a:solidFill>
                <a:effectLst/>
                <a:uLnTx/>
                <a:uFillTx/>
                <a:latin typeface="DB Office"/>
                <a:ea typeface="+mn-ea"/>
                <a:cs typeface="+mn-cs"/>
              </a:rPr>
              <a:t>about</a:t>
            </a:r>
            <a:r>
              <a:rPr kumimoji="0" lang="de-DE" sz="1400" b="1" i="0" u="none" strike="noStrike" kern="1200" cap="none" spc="0" normalizeH="0" baseline="0" noProof="0">
                <a:ln>
                  <a:noFill/>
                </a:ln>
                <a:solidFill>
                  <a:srgbClr val="878C96"/>
                </a:solidFill>
                <a:effectLst/>
                <a:uLnTx/>
                <a:uFillTx/>
                <a:latin typeface="DB Office"/>
                <a:ea typeface="+mn-ea"/>
                <a:cs typeface="+mn-cs"/>
              </a:rPr>
              <a:t> </a:t>
            </a:r>
            <a:r>
              <a:rPr kumimoji="0" lang="de-DE" sz="1400" b="1" i="0" u="none" strike="noStrike" kern="1200" cap="none" spc="0" normalizeH="0" baseline="0" noProof="0" err="1">
                <a:ln>
                  <a:noFill/>
                </a:ln>
                <a:solidFill>
                  <a:srgbClr val="878C96"/>
                </a:solidFill>
                <a:effectLst/>
                <a:uLnTx/>
                <a:uFillTx/>
                <a:latin typeface="DB Office"/>
                <a:ea typeface="+mn-ea"/>
                <a:cs typeface="+mn-cs"/>
              </a:rPr>
              <a:t>safety</a:t>
            </a:r>
            <a:r>
              <a:rPr kumimoji="0" lang="de-DE" sz="1400" b="1" i="0" u="none" strike="noStrike" kern="1200" cap="none" spc="0" normalizeH="0" baseline="0" noProof="0">
                <a:ln>
                  <a:noFill/>
                </a:ln>
                <a:solidFill>
                  <a:srgbClr val="878C96"/>
                </a:solidFill>
                <a:effectLst/>
                <a:uLnTx/>
                <a:uFillTx/>
                <a:latin typeface="DB Office"/>
                <a:ea typeface="+mn-ea"/>
                <a:cs typeface="+mn-cs"/>
              </a:rPr>
              <a:t> </a:t>
            </a:r>
            <a:r>
              <a:rPr kumimoji="0" lang="de-DE" sz="1400" b="1" i="0" u="none" strike="noStrike" kern="1200" cap="none" spc="0" normalizeH="0" baseline="0" noProof="0" err="1">
                <a:ln>
                  <a:noFill/>
                </a:ln>
                <a:solidFill>
                  <a:srgbClr val="878C96"/>
                </a:solidFill>
                <a:effectLst/>
                <a:uLnTx/>
                <a:uFillTx/>
                <a:latin typeface="DB Office"/>
                <a:ea typeface="+mn-ea"/>
                <a:cs typeface="+mn-cs"/>
              </a:rPr>
              <a:t>level</a:t>
            </a:r>
            <a:r>
              <a:rPr kumimoji="0" lang="de-DE" sz="1400" b="1" i="0" u="none" strike="noStrike" kern="1200" cap="none" spc="0" normalizeH="0" baseline="0" noProof="0">
                <a:ln>
                  <a:noFill/>
                </a:ln>
                <a:solidFill>
                  <a:srgbClr val="878C96"/>
                </a:solidFill>
                <a:effectLst/>
                <a:uLnTx/>
                <a:uFillTx/>
                <a:latin typeface="DB Office"/>
                <a:ea typeface="+mn-ea"/>
                <a:cs typeface="+mn-cs"/>
              </a:rPr>
              <a:t> </a:t>
            </a:r>
            <a:r>
              <a:rPr kumimoji="0" lang="de-DE" sz="1400" b="1" i="0" u="none" strike="noStrike" kern="1200" cap="none" spc="0" normalizeH="0" baseline="0" noProof="0" err="1">
                <a:ln>
                  <a:noFill/>
                </a:ln>
                <a:solidFill>
                  <a:srgbClr val="878C96"/>
                </a:solidFill>
                <a:effectLst/>
                <a:uLnTx/>
                <a:uFillTx/>
                <a:latin typeface="DB Office"/>
                <a:ea typeface="+mn-ea"/>
                <a:cs typeface="+mn-cs"/>
              </a:rPr>
              <a:t>from</a:t>
            </a:r>
            <a:r>
              <a:rPr kumimoji="0" lang="de-DE" sz="1400" b="1" i="0" u="none" strike="noStrike" kern="1200" cap="none" spc="0" normalizeH="0" baseline="0" noProof="0">
                <a:ln>
                  <a:noFill/>
                </a:ln>
                <a:solidFill>
                  <a:srgbClr val="878C96"/>
                </a:solidFill>
                <a:effectLst/>
                <a:uLnTx/>
                <a:uFillTx/>
                <a:latin typeface="DB Office"/>
                <a:ea typeface="+mn-ea"/>
                <a:cs typeface="+mn-cs"/>
              </a:rPr>
              <a:t>  </a:t>
            </a:r>
            <a:r>
              <a:rPr kumimoji="0" lang="de-DE" sz="1400" b="1" i="0" u="none" strike="noStrike" kern="1200" cap="none" spc="0" normalizeH="0" baseline="0" noProof="0" err="1">
                <a:ln>
                  <a:noFill/>
                </a:ln>
                <a:solidFill>
                  <a:srgbClr val="878C96"/>
                </a:solidFill>
                <a:effectLst/>
                <a:uLnTx/>
                <a:uFillTx/>
                <a:latin typeface="DB Office"/>
                <a:ea typeface="+mn-ea"/>
                <a:cs typeface="+mn-cs"/>
              </a:rPr>
              <a:t>Safety</a:t>
            </a:r>
            <a:r>
              <a:rPr kumimoji="0" lang="de-DE" sz="1400" b="1" i="0" u="none" strike="noStrike" kern="1200" cap="none" spc="0" normalizeH="0" baseline="0" noProof="0">
                <a:ln>
                  <a:noFill/>
                </a:ln>
                <a:solidFill>
                  <a:srgbClr val="878C96"/>
                </a:solidFill>
                <a:effectLst/>
                <a:uLnTx/>
                <a:uFillTx/>
                <a:latin typeface="DB Office"/>
                <a:ea typeface="+mn-ea"/>
                <a:cs typeface="+mn-cs"/>
              </a:rPr>
              <a:t> Assurance Manager </a:t>
            </a:r>
            <a:endParaRPr kumimoji="0" lang="de-DE" altLang="de-DE" sz="1400" b="1" i="0" u="none" strike="noStrike" kern="1200" cap="none" spc="0" normalizeH="0" baseline="0" noProof="0">
              <a:ln>
                <a:noFill/>
              </a:ln>
              <a:solidFill>
                <a:srgbClr val="878C96"/>
              </a:solidFill>
              <a:effectLst/>
              <a:uLnTx/>
              <a:uFillTx/>
              <a:latin typeface="DB Office"/>
              <a:ea typeface="+mn-ea"/>
              <a:cs typeface="+mn-cs"/>
            </a:endParaRP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mn-ea"/>
                <a:cs typeface="Times New Roman" panose="02020603050405020304" pitchFamily="18" charset="0"/>
              </a:rPr>
              <a:t>It is </a:t>
            </a:r>
            <a:r>
              <a:rPr kumimoji="0" lang="en-GB" sz="1400" b="1" i="0" u="none" strike="noStrike" kern="1200" cap="none" spc="0" normalizeH="0" baseline="0" noProof="0">
                <a:ln>
                  <a:noFill/>
                </a:ln>
                <a:solidFill>
                  <a:srgbClr val="212121"/>
                </a:solidFill>
                <a:effectLst/>
                <a:uLnTx/>
                <a:uFillTx/>
                <a:latin typeface="DB Office" panose="020B0604020202020204" pitchFamily="34" charset="0"/>
                <a:ea typeface="+mn-ea"/>
                <a:cs typeface="Times New Roman" panose="02020603050405020304" pitchFamily="18" charset="0"/>
              </a:rPr>
              <a:t>rare to see any violations </a:t>
            </a: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mn-ea"/>
                <a:cs typeface="Times New Roman" panose="02020603050405020304" pitchFamily="18" charset="0"/>
              </a:rPr>
              <a:t>from NE and Cumbria drivers. The  standard of driving and adherence to rules and policies is very high in our area. </a:t>
            </a: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mn-ea"/>
                <a:cs typeface="Times New Roman" panose="02020603050405020304" pitchFamily="18" charset="0"/>
              </a:rPr>
              <a:t>The </a:t>
            </a:r>
            <a:r>
              <a:rPr kumimoji="0" lang="en-GB" sz="1400" b="1" i="0" u="none" strike="noStrike" kern="1200" cap="none" spc="0" normalizeH="0" baseline="0" noProof="0">
                <a:ln>
                  <a:noFill/>
                </a:ln>
                <a:solidFill>
                  <a:srgbClr val="212121"/>
                </a:solidFill>
                <a:effectLst/>
                <a:uLnTx/>
                <a:uFillTx/>
                <a:latin typeface="DB Office" panose="020B0604020202020204" pitchFamily="34" charset="0"/>
                <a:ea typeface="+mn-ea"/>
                <a:cs typeface="Times New Roman" panose="02020603050405020304" pitchFamily="18" charset="0"/>
              </a:rPr>
              <a:t>high standard of driving </a:t>
            </a: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mn-ea"/>
                <a:cs typeface="Times New Roman" panose="02020603050405020304" pitchFamily="18" charset="0"/>
              </a:rPr>
              <a:t>is also reflected in the downloads analysed for the driver assessment process.</a:t>
            </a:r>
          </a:p>
          <a:p>
            <a:pPr marL="180000" marR="0" lvl="1" indent="-180000" algn="l" defTabSz="914400" rtl="0" eaLnBrk="1" fontAlgn="base" latinLnBrk="0" hangingPunct="1">
              <a:lnSpc>
                <a:spcPct val="100000"/>
              </a:lnSpc>
              <a:spcBef>
                <a:spcPts val="1200"/>
              </a:spcBef>
              <a:spcAft>
                <a:spcPct val="0"/>
              </a:spcAft>
              <a:buClr>
                <a:srgbClr val="FF0000"/>
              </a:buClr>
              <a:buSzPct val="85000"/>
              <a:buFont typeface="Wingdings" pitchFamily="2" charset="2"/>
              <a:buChar char="n"/>
              <a:tabLst/>
              <a:defRPr/>
            </a:pP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Calibri" panose="020F0502020204030204" pitchFamily="34" charset="0"/>
                <a:cs typeface="+mn-cs"/>
              </a:rPr>
              <a:t>This high standard of driving means we have a </a:t>
            </a:r>
            <a:r>
              <a:rPr kumimoji="0" lang="en-GB" sz="1400" b="1" i="0" u="none" strike="noStrike" kern="1200" cap="none" spc="0" normalizeH="0" baseline="0" noProof="0">
                <a:ln>
                  <a:noFill/>
                </a:ln>
                <a:solidFill>
                  <a:srgbClr val="212121"/>
                </a:solidFill>
                <a:effectLst/>
                <a:uLnTx/>
                <a:uFillTx/>
                <a:latin typeface="DB Office" panose="020B0604020202020204" pitchFamily="34" charset="0"/>
                <a:ea typeface="Calibri" panose="020F0502020204030204" pitchFamily="34" charset="0"/>
                <a:cs typeface="+mn-cs"/>
              </a:rPr>
              <a:t>low number of incidents </a:t>
            </a:r>
            <a:r>
              <a:rPr kumimoji="0" lang="en-GB" sz="1400" b="0" i="0" u="none" strike="noStrike" kern="1200" cap="none" spc="0" normalizeH="0" baseline="0" noProof="0">
                <a:ln>
                  <a:noFill/>
                </a:ln>
                <a:solidFill>
                  <a:srgbClr val="212121"/>
                </a:solidFill>
                <a:effectLst/>
                <a:uLnTx/>
                <a:uFillTx/>
                <a:latin typeface="DB Office" panose="020B0604020202020204" pitchFamily="34" charset="0"/>
                <a:ea typeface="Calibri" panose="020F0502020204030204" pitchFamily="34" charset="0"/>
                <a:cs typeface="+mn-cs"/>
              </a:rPr>
              <a:t>and a good safety record something that is recognised @ DB. </a:t>
            </a:r>
            <a:endParaRPr kumimoji="0" lang="de-DE" sz="1400" b="0" i="0" u="none" strike="noStrike" kern="1200" cap="none" spc="0" normalizeH="0" baseline="0" noProof="0">
              <a:ln>
                <a:noFill/>
              </a:ln>
              <a:solidFill>
                <a:prstClr val="black"/>
              </a:solidFill>
              <a:effectLst/>
              <a:uLnTx/>
              <a:uFillTx/>
              <a:latin typeface="DB Office" panose="020B0604020202020204" pitchFamily="34" charset="0"/>
              <a:ea typeface="Calibri" panose="020F0502020204030204" pitchFamily="34" charset="0"/>
              <a:cs typeface="+mn-cs"/>
            </a:endParaRPr>
          </a:p>
        </p:txBody>
      </p:sp>
      <p:grpSp>
        <p:nvGrpSpPr>
          <p:cNvPr id="32" name="Group 8">
            <a:extLst>
              <a:ext uri="{FF2B5EF4-FFF2-40B4-BE49-F238E27FC236}">
                <a16:creationId xmlns:a16="http://schemas.microsoft.com/office/drawing/2014/main" id="{E09A7E65-7D72-4711-B469-328DD1B958FC}"/>
              </a:ext>
            </a:extLst>
          </p:cNvPr>
          <p:cNvGrpSpPr/>
          <p:nvPr/>
        </p:nvGrpSpPr>
        <p:grpSpPr bwMode="gray">
          <a:xfrm>
            <a:off x="8353314" y="1340768"/>
            <a:ext cx="995160" cy="793715"/>
            <a:chOff x="-658592" y="1756987"/>
            <a:chExt cx="1803462" cy="1803462"/>
          </a:xfrm>
        </p:grpSpPr>
        <p:sp>
          <p:nvSpPr>
            <p:cNvPr id="33" name="Oval 7">
              <a:extLst>
                <a:ext uri="{FF2B5EF4-FFF2-40B4-BE49-F238E27FC236}">
                  <a16:creationId xmlns:a16="http://schemas.microsoft.com/office/drawing/2014/main" id="{686EA99C-8AFF-40BE-AB44-BC11F33B307E}"/>
                </a:ext>
              </a:extLst>
            </p:cNvPr>
            <p:cNvSpPr/>
            <p:nvPr/>
          </p:nvSpPr>
          <p:spPr bwMode="gray">
            <a:xfrm>
              <a:off x="-658592" y="1756987"/>
              <a:ext cx="1803462" cy="18034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B Office"/>
                <a:ea typeface="+mn-ea"/>
                <a:cs typeface="+mn-cs"/>
              </a:endParaRPr>
            </a:p>
          </p:txBody>
        </p:sp>
        <p:sp>
          <p:nvSpPr>
            <p:cNvPr id="34" name="Oval 30">
              <a:extLst>
                <a:ext uri="{FF2B5EF4-FFF2-40B4-BE49-F238E27FC236}">
                  <a16:creationId xmlns:a16="http://schemas.microsoft.com/office/drawing/2014/main" id="{A4EF96ED-F32F-4753-A7A6-F19A006782A1}"/>
                </a:ext>
              </a:extLst>
            </p:cNvPr>
            <p:cNvSpPr/>
            <p:nvPr/>
          </p:nvSpPr>
          <p:spPr bwMode="gray">
            <a:xfrm>
              <a:off x="-532353" y="1883226"/>
              <a:ext cx="1550984" cy="155098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ts val="100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B Office"/>
                <a:ea typeface="+mn-ea"/>
                <a:cs typeface="+mn-cs"/>
              </a:endParaRPr>
            </a:p>
          </p:txBody>
        </p:sp>
      </p:grpSp>
      <p:grpSp>
        <p:nvGrpSpPr>
          <p:cNvPr id="35" name="Gruppieren 34">
            <a:extLst>
              <a:ext uri="{FF2B5EF4-FFF2-40B4-BE49-F238E27FC236}">
                <a16:creationId xmlns:a16="http://schemas.microsoft.com/office/drawing/2014/main" id="{18E9AD78-FFDC-4971-87F7-8B3567FBFA20}"/>
              </a:ext>
            </a:extLst>
          </p:cNvPr>
          <p:cNvGrpSpPr/>
          <p:nvPr>
            <p:custDataLst>
              <p:tags r:id="rId1"/>
            </p:custDataLst>
          </p:nvPr>
        </p:nvGrpSpPr>
        <p:grpSpPr>
          <a:xfrm>
            <a:off x="8404187" y="1427593"/>
            <a:ext cx="890440" cy="709196"/>
            <a:chOff x="8307388" y="2927350"/>
            <a:chExt cx="1130300" cy="1128713"/>
          </a:xfrm>
        </p:grpSpPr>
        <p:sp>
          <p:nvSpPr>
            <p:cNvPr id="36" name="Freeform 105">
              <a:extLst>
                <a:ext uri="{FF2B5EF4-FFF2-40B4-BE49-F238E27FC236}">
                  <a16:creationId xmlns:a16="http://schemas.microsoft.com/office/drawing/2014/main" id="{20EB1962-2BB7-403F-A62A-F9704F029A17}"/>
                </a:ext>
              </a:extLst>
            </p:cNvPr>
            <p:cNvSpPr>
              <a:spLocks/>
            </p:cNvSpPr>
            <p:nvPr/>
          </p:nvSpPr>
          <p:spPr bwMode="auto">
            <a:xfrm>
              <a:off x="8716963" y="2943225"/>
              <a:ext cx="311150" cy="1095375"/>
            </a:xfrm>
            <a:custGeom>
              <a:avLst/>
              <a:gdLst>
                <a:gd name="T0" fmla="*/ 26 w 394"/>
                <a:gd name="T1" fmla="*/ 1381 h 1381"/>
                <a:gd name="T2" fmla="*/ 0 w 394"/>
                <a:gd name="T3" fmla="*/ 1374 h 1381"/>
                <a:gd name="T4" fmla="*/ 368 w 394"/>
                <a:gd name="T5" fmla="*/ 0 h 1381"/>
                <a:gd name="T6" fmla="*/ 394 w 394"/>
                <a:gd name="T7" fmla="*/ 7 h 1381"/>
                <a:gd name="T8" fmla="*/ 26 w 394"/>
                <a:gd name="T9" fmla="*/ 1381 h 1381"/>
              </a:gdLst>
              <a:ahLst/>
              <a:cxnLst>
                <a:cxn ang="0">
                  <a:pos x="T0" y="T1"/>
                </a:cxn>
                <a:cxn ang="0">
                  <a:pos x="T2" y="T3"/>
                </a:cxn>
                <a:cxn ang="0">
                  <a:pos x="T4" y="T5"/>
                </a:cxn>
                <a:cxn ang="0">
                  <a:pos x="T6" y="T7"/>
                </a:cxn>
                <a:cxn ang="0">
                  <a:pos x="T8" y="T9"/>
                </a:cxn>
              </a:cxnLst>
              <a:rect l="0" t="0" r="r" b="b"/>
              <a:pathLst>
                <a:path w="394" h="1381">
                  <a:moveTo>
                    <a:pt x="26" y="1381"/>
                  </a:moveTo>
                  <a:lnTo>
                    <a:pt x="0" y="1374"/>
                  </a:lnTo>
                  <a:lnTo>
                    <a:pt x="368" y="0"/>
                  </a:lnTo>
                  <a:lnTo>
                    <a:pt x="394" y="7"/>
                  </a:lnTo>
                  <a:lnTo>
                    <a:pt x="26" y="1381"/>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37" name="Freeform 106">
              <a:extLst>
                <a:ext uri="{FF2B5EF4-FFF2-40B4-BE49-F238E27FC236}">
                  <a16:creationId xmlns:a16="http://schemas.microsoft.com/office/drawing/2014/main" id="{30F0FD24-AF43-446C-A9D0-9EC67FFE9125}"/>
                </a:ext>
              </a:extLst>
            </p:cNvPr>
            <p:cNvSpPr>
              <a:spLocks/>
            </p:cNvSpPr>
            <p:nvPr/>
          </p:nvSpPr>
          <p:spPr bwMode="auto">
            <a:xfrm>
              <a:off x="8580438" y="2997200"/>
              <a:ext cx="584200" cy="989013"/>
            </a:xfrm>
            <a:custGeom>
              <a:avLst/>
              <a:gdLst>
                <a:gd name="T0" fmla="*/ 24 w 736"/>
                <a:gd name="T1" fmla="*/ 1245 h 1245"/>
                <a:gd name="T2" fmla="*/ 0 w 736"/>
                <a:gd name="T3" fmla="*/ 1232 h 1245"/>
                <a:gd name="T4" fmla="*/ 712 w 736"/>
                <a:gd name="T5" fmla="*/ 0 h 1245"/>
                <a:gd name="T6" fmla="*/ 736 w 736"/>
                <a:gd name="T7" fmla="*/ 13 h 1245"/>
                <a:gd name="T8" fmla="*/ 24 w 736"/>
                <a:gd name="T9" fmla="*/ 1245 h 1245"/>
              </a:gdLst>
              <a:ahLst/>
              <a:cxnLst>
                <a:cxn ang="0">
                  <a:pos x="T0" y="T1"/>
                </a:cxn>
                <a:cxn ang="0">
                  <a:pos x="T2" y="T3"/>
                </a:cxn>
                <a:cxn ang="0">
                  <a:pos x="T4" y="T5"/>
                </a:cxn>
                <a:cxn ang="0">
                  <a:pos x="T6" y="T7"/>
                </a:cxn>
                <a:cxn ang="0">
                  <a:pos x="T8" y="T9"/>
                </a:cxn>
              </a:cxnLst>
              <a:rect l="0" t="0" r="r" b="b"/>
              <a:pathLst>
                <a:path w="736" h="1245">
                  <a:moveTo>
                    <a:pt x="24" y="1245"/>
                  </a:moveTo>
                  <a:lnTo>
                    <a:pt x="0" y="1232"/>
                  </a:lnTo>
                  <a:lnTo>
                    <a:pt x="712" y="0"/>
                  </a:lnTo>
                  <a:lnTo>
                    <a:pt x="736" y="13"/>
                  </a:lnTo>
                  <a:lnTo>
                    <a:pt x="24" y="1245"/>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38" name="Freeform 107">
              <a:extLst>
                <a:ext uri="{FF2B5EF4-FFF2-40B4-BE49-F238E27FC236}">
                  <a16:creationId xmlns:a16="http://schemas.microsoft.com/office/drawing/2014/main" id="{788AE5B7-CAD3-4420-9B83-382DDEB25DEF}"/>
                </a:ext>
              </a:extLst>
            </p:cNvPr>
            <p:cNvSpPr>
              <a:spLocks/>
            </p:cNvSpPr>
            <p:nvPr/>
          </p:nvSpPr>
          <p:spPr bwMode="auto">
            <a:xfrm>
              <a:off x="8466138" y="3084513"/>
              <a:ext cx="812800" cy="814388"/>
            </a:xfrm>
            <a:custGeom>
              <a:avLst/>
              <a:gdLst>
                <a:gd name="T0" fmla="*/ 19 w 1026"/>
                <a:gd name="T1" fmla="*/ 1025 h 1025"/>
                <a:gd name="T2" fmla="*/ 0 w 1026"/>
                <a:gd name="T3" fmla="*/ 1006 h 1025"/>
                <a:gd name="T4" fmla="*/ 1007 w 1026"/>
                <a:gd name="T5" fmla="*/ 0 h 1025"/>
                <a:gd name="T6" fmla="*/ 1026 w 1026"/>
                <a:gd name="T7" fmla="*/ 20 h 1025"/>
                <a:gd name="T8" fmla="*/ 19 w 1026"/>
                <a:gd name="T9" fmla="*/ 1025 h 1025"/>
              </a:gdLst>
              <a:ahLst/>
              <a:cxnLst>
                <a:cxn ang="0">
                  <a:pos x="T0" y="T1"/>
                </a:cxn>
                <a:cxn ang="0">
                  <a:pos x="T2" y="T3"/>
                </a:cxn>
                <a:cxn ang="0">
                  <a:pos x="T4" y="T5"/>
                </a:cxn>
                <a:cxn ang="0">
                  <a:pos x="T6" y="T7"/>
                </a:cxn>
                <a:cxn ang="0">
                  <a:pos x="T8" y="T9"/>
                </a:cxn>
              </a:cxnLst>
              <a:rect l="0" t="0" r="r" b="b"/>
              <a:pathLst>
                <a:path w="1026" h="1025">
                  <a:moveTo>
                    <a:pt x="19" y="1025"/>
                  </a:moveTo>
                  <a:lnTo>
                    <a:pt x="0" y="1006"/>
                  </a:lnTo>
                  <a:lnTo>
                    <a:pt x="1007" y="0"/>
                  </a:lnTo>
                  <a:lnTo>
                    <a:pt x="1026" y="20"/>
                  </a:lnTo>
                  <a:lnTo>
                    <a:pt x="19" y="1025"/>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39" name="Freeform 108">
              <a:extLst>
                <a:ext uri="{FF2B5EF4-FFF2-40B4-BE49-F238E27FC236}">
                  <a16:creationId xmlns:a16="http://schemas.microsoft.com/office/drawing/2014/main" id="{9594A5B7-0674-47C3-88F6-17E6E8573939}"/>
                </a:ext>
              </a:extLst>
            </p:cNvPr>
            <p:cNvSpPr>
              <a:spLocks/>
            </p:cNvSpPr>
            <p:nvPr/>
          </p:nvSpPr>
          <p:spPr bwMode="auto">
            <a:xfrm>
              <a:off x="8378826" y="3200400"/>
              <a:ext cx="989013" cy="582613"/>
            </a:xfrm>
            <a:custGeom>
              <a:avLst/>
              <a:gdLst>
                <a:gd name="T0" fmla="*/ 13 w 1246"/>
                <a:gd name="T1" fmla="*/ 733 h 733"/>
                <a:gd name="T2" fmla="*/ 0 w 1246"/>
                <a:gd name="T3" fmla="*/ 711 h 733"/>
                <a:gd name="T4" fmla="*/ 1233 w 1246"/>
                <a:gd name="T5" fmla="*/ 0 h 733"/>
                <a:gd name="T6" fmla="*/ 1246 w 1246"/>
                <a:gd name="T7" fmla="*/ 22 h 733"/>
                <a:gd name="T8" fmla="*/ 13 w 1246"/>
                <a:gd name="T9" fmla="*/ 733 h 733"/>
              </a:gdLst>
              <a:ahLst/>
              <a:cxnLst>
                <a:cxn ang="0">
                  <a:pos x="T0" y="T1"/>
                </a:cxn>
                <a:cxn ang="0">
                  <a:pos x="T2" y="T3"/>
                </a:cxn>
                <a:cxn ang="0">
                  <a:pos x="T4" y="T5"/>
                </a:cxn>
                <a:cxn ang="0">
                  <a:pos x="T6" y="T7"/>
                </a:cxn>
                <a:cxn ang="0">
                  <a:pos x="T8" y="T9"/>
                </a:cxn>
              </a:cxnLst>
              <a:rect l="0" t="0" r="r" b="b"/>
              <a:pathLst>
                <a:path w="1246" h="733">
                  <a:moveTo>
                    <a:pt x="13" y="733"/>
                  </a:moveTo>
                  <a:lnTo>
                    <a:pt x="0" y="711"/>
                  </a:lnTo>
                  <a:lnTo>
                    <a:pt x="1233" y="0"/>
                  </a:lnTo>
                  <a:lnTo>
                    <a:pt x="1246" y="22"/>
                  </a:lnTo>
                  <a:lnTo>
                    <a:pt x="13" y="733"/>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0" name="Freeform 109">
              <a:extLst>
                <a:ext uri="{FF2B5EF4-FFF2-40B4-BE49-F238E27FC236}">
                  <a16:creationId xmlns:a16="http://schemas.microsoft.com/office/drawing/2014/main" id="{66DB920F-5EF3-40E4-B500-DE892239553E}"/>
                </a:ext>
              </a:extLst>
            </p:cNvPr>
            <p:cNvSpPr>
              <a:spLocks/>
            </p:cNvSpPr>
            <p:nvPr/>
          </p:nvSpPr>
          <p:spPr bwMode="auto">
            <a:xfrm>
              <a:off x="8324851" y="3335338"/>
              <a:ext cx="1095375" cy="312738"/>
            </a:xfrm>
            <a:custGeom>
              <a:avLst/>
              <a:gdLst>
                <a:gd name="T0" fmla="*/ 7 w 1382"/>
                <a:gd name="T1" fmla="*/ 394 h 394"/>
                <a:gd name="T2" fmla="*/ 0 w 1382"/>
                <a:gd name="T3" fmla="*/ 369 h 394"/>
                <a:gd name="T4" fmla="*/ 1375 w 1382"/>
                <a:gd name="T5" fmla="*/ 0 h 394"/>
                <a:gd name="T6" fmla="*/ 1382 w 1382"/>
                <a:gd name="T7" fmla="*/ 27 h 394"/>
                <a:gd name="T8" fmla="*/ 7 w 1382"/>
                <a:gd name="T9" fmla="*/ 394 h 394"/>
              </a:gdLst>
              <a:ahLst/>
              <a:cxnLst>
                <a:cxn ang="0">
                  <a:pos x="T0" y="T1"/>
                </a:cxn>
                <a:cxn ang="0">
                  <a:pos x="T2" y="T3"/>
                </a:cxn>
                <a:cxn ang="0">
                  <a:pos x="T4" y="T5"/>
                </a:cxn>
                <a:cxn ang="0">
                  <a:pos x="T6" y="T7"/>
                </a:cxn>
                <a:cxn ang="0">
                  <a:pos x="T8" y="T9"/>
                </a:cxn>
              </a:cxnLst>
              <a:rect l="0" t="0" r="r" b="b"/>
              <a:pathLst>
                <a:path w="1382" h="394">
                  <a:moveTo>
                    <a:pt x="7" y="394"/>
                  </a:moveTo>
                  <a:lnTo>
                    <a:pt x="0" y="369"/>
                  </a:lnTo>
                  <a:lnTo>
                    <a:pt x="1375" y="0"/>
                  </a:lnTo>
                  <a:lnTo>
                    <a:pt x="1382" y="27"/>
                  </a:lnTo>
                  <a:lnTo>
                    <a:pt x="7" y="394"/>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1" name="Rectangle 110">
              <a:extLst>
                <a:ext uri="{FF2B5EF4-FFF2-40B4-BE49-F238E27FC236}">
                  <a16:creationId xmlns:a16="http://schemas.microsoft.com/office/drawing/2014/main" id="{A79B070B-845C-48DA-A1D5-EB2B44B31BC9}"/>
                </a:ext>
              </a:extLst>
            </p:cNvPr>
            <p:cNvSpPr>
              <a:spLocks noChangeArrowheads="1"/>
            </p:cNvSpPr>
            <p:nvPr/>
          </p:nvSpPr>
          <p:spPr bwMode="auto">
            <a:xfrm>
              <a:off x="8307388" y="3481388"/>
              <a:ext cx="1130300" cy="20638"/>
            </a:xfrm>
            <a:prstGeom prst="rect">
              <a:avLst/>
            </a:prstGeom>
            <a:solidFill>
              <a:srgbClr val="878C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2" name="Freeform 111">
              <a:extLst>
                <a:ext uri="{FF2B5EF4-FFF2-40B4-BE49-F238E27FC236}">
                  <a16:creationId xmlns:a16="http://schemas.microsoft.com/office/drawing/2014/main" id="{64ABF319-1AC6-4411-9698-1265AEB68115}"/>
                </a:ext>
              </a:extLst>
            </p:cNvPr>
            <p:cNvSpPr>
              <a:spLocks/>
            </p:cNvSpPr>
            <p:nvPr/>
          </p:nvSpPr>
          <p:spPr bwMode="auto">
            <a:xfrm>
              <a:off x="8324851" y="3335338"/>
              <a:ext cx="1095375" cy="312738"/>
            </a:xfrm>
            <a:custGeom>
              <a:avLst/>
              <a:gdLst>
                <a:gd name="T0" fmla="*/ 1375 w 1382"/>
                <a:gd name="T1" fmla="*/ 394 h 394"/>
                <a:gd name="T2" fmla="*/ 0 w 1382"/>
                <a:gd name="T3" fmla="*/ 26 h 394"/>
                <a:gd name="T4" fmla="*/ 7 w 1382"/>
                <a:gd name="T5" fmla="*/ 0 h 394"/>
                <a:gd name="T6" fmla="*/ 1382 w 1382"/>
                <a:gd name="T7" fmla="*/ 369 h 394"/>
                <a:gd name="T8" fmla="*/ 1375 w 1382"/>
                <a:gd name="T9" fmla="*/ 394 h 394"/>
              </a:gdLst>
              <a:ahLst/>
              <a:cxnLst>
                <a:cxn ang="0">
                  <a:pos x="T0" y="T1"/>
                </a:cxn>
                <a:cxn ang="0">
                  <a:pos x="T2" y="T3"/>
                </a:cxn>
                <a:cxn ang="0">
                  <a:pos x="T4" y="T5"/>
                </a:cxn>
                <a:cxn ang="0">
                  <a:pos x="T6" y="T7"/>
                </a:cxn>
                <a:cxn ang="0">
                  <a:pos x="T8" y="T9"/>
                </a:cxn>
              </a:cxnLst>
              <a:rect l="0" t="0" r="r" b="b"/>
              <a:pathLst>
                <a:path w="1382" h="394">
                  <a:moveTo>
                    <a:pt x="1375" y="394"/>
                  </a:moveTo>
                  <a:lnTo>
                    <a:pt x="0" y="26"/>
                  </a:lnTo>
                  <a:lnTo>
                    <a:pt x="7" y="0"/>
                  </a:lnTo>
                  <a:lnTo>
                    <a:pt x="1382" y="369"/>
                  </a:lnTo>
                  <a:lnTo>
                    <a:pt x="1375" y="394"/>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3" name="Freeform 112">
              <a:extLst>
                <a:ext uri="{FF2B5EF4-FFF2-40B4-BE49-F238E27FC236}">
                  <a16:creationId xmlns:a16="http://schemas.microsoft.com/office/drawing/2014/main" id="{E9A23F29-5BD0-4E0F-9C64-98A739167AAA}"/>
                </a:ext>
              </a:extLst>
            </p:cNvPr>
            <p:cNvSpPr>
              <a:spLocks/>
            </p:cNvSpPr>
            <p:nvPr/>
          </p:nvSpPr>
          <p:spPr bwMode="auto">
            <a:xfrm>
              <a:off x="8378826" y="3200400"/>
              <a:ext cx="989013" cy="582613"/>
            </a:xfrm>
            <a:custGeom>
              <a:avLst/>
              <a:gdLst>
                <a:gd name="T0" fmla="*/ 1233 w 1246"/>
                <a:gd name="T1" fmla="*/ 733 h 733"/>
                <a:gd name="T2" fmla="*/ 0 w 1246"/>
                <a:gd name="T3" fmla="*/ 22 h 733"/>
                <a:gd name="T4" fmla="*/ 13 w 1246"/>
                <a:gd name="T5" fmla="*/ 0 h 733"/>
                <a:gd name="T6" fmla="*/ 1246 w 1246"/>
                <a:gd name="T7" fmla="*/ 711 h 733"/>
                <a:gd name="T8" fmla="*/ 1233 w 1246"/>
                <a:gd name="T9" fmla="*/ 733 h 733"/>
              </a:gdLst>
              <a:ahLst/>
              <a:cxnLst>
                <a:cxn ang="0">
                  <a:pos x="T0" y="T1"/>
                </a:cxn>
                <a:cxn ang="0">
                  <a:pos x="T2" y="T3"/>
                </a:cxn>
                <a:cxn ang="0">
                  <a:pos x="T4" y="T5"/>
                </a:cxn>
                <a:cxn ang="0">
                  <a:pos x="T6" y="T7"/>
                </a:cxn>
                <a:cxn ang="0">
                  <a:pos x="T8" y="T9"/>
                </a:cxn>
              </a:cxnLst>
              <a:rect l="0" t="0" r="r" b="b"/>
              <a:pathLst>
                <a:path w="1246" h="733">
                  <a:moveTo>
                    <a:pt x="1233" y="733"/>
                  </a:moveTo>
                  <a:lnTo>
                    <a:pt x="0" y="22"/>
                  </a:lnTo>
                  <a:lnTo>
                    <a:pt x="13" y="0"/>
                  </a:lnTo>
                  <a:lnTo>
                    <a:pt x="1246" y="711"/>
                  </a:lnTo>
                  <a:lnTo>
                    <a:pt x="1233" y="733"/>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4" name="Freeform 113">
              <a:extLst>
                <a:ext uri="{FF2B5EF4-FFF2-40B4-BE49-F238E27FC236}">
                  <a16:creationId xmlns:a16="http://schemas.microsoft.com/office/drawing/2014/main" id="{EBF9A3C7-5701-45C4-9DB1-C231BA1128B0}"/>
                </a:ext>
              </a:extLst>
            </p:cNvPr>
            <p:cNvSpPr>
              <a:spLocks/>
            </p:cNvSpPr>
            <p:nvPr/>
          </p:nvSpPr>
          <p:spPr bwMode="auto">
            <a:xfrm>
              <a:off x="8466138" y="3084513"/>
              <a:ext cx="812800" cy="814388"/>
            </a:xfrm>
            <a:custGeom>
              <a:avLst/>
              <a:gdLst>
                <a:gd name="T0" fmla="*/ 1007 w 1026"/>
                <a:gd name="T1" fmla="*/ 1025 h 1025"/>
                <a:gd name="T2" fmla="*/ 0 w 1026"/>
                <a:gd name="T3" fmla="*/ 20 h 1025"/>
                <a:gd name="T4" fmla="*/ 19 w 1026"/>
                <a:gd name="T5" fmla="*/ 0 h 1025"/>
                <a:gd name="T6" fmla="*/ 1026 w 1026"/>
                <a:gd name="T7" fmla="*/ 1006 h 1025"/>
                <a:gd name="T8" fmla="*/ 1007 w 1026"/>
                <a:gd name="T9" fmla="*/ 1025 h 1025"/>
              </a:gdLst>
              <a:ahLst/>
              <a:cxnLst>
                <a:cxn ang="0">
                  <a:pos x="T0" y="T1"/>
                </a:cxn>
                <a:cxn ang="0">
                  <a:pos x="T2" y="T3"/>
                </a:cxn>
                <a:cxn ang="0">
                  <a:pos x="T4" y="T5"/>
                </a:cxn>
                <a:cxn ang="0">
                  <a:pos x="T6" y="T7"/>
                </a:cxn>
                <a:cxn ang="0">
                  <a:pos x="T8" y="T9"/>
                </a:cxn>
              </a:cxnLst>
              <a:rect l="0" t="0" r="r" b="b"/>
              <a:pathLst>
                <a:path w="1026" h="1025">
                  <a:moveTo>
                    <a:pt x="1007" y="1025"/>
                  </a:moveTo>
                  <a:lnTo>
                    <a:pt x="0" y="20"/>
                  </a:lnTo>
                  <a:lnTo>
                    <a:pt x="19" y="0"/>
                  </a:lnTo>
                  <a:lnTo>
                    <a:pt x="1026" y="1006"/>
                  </a:lnTo>
                  <a:lnTo>
                    <a:pt x="1007" y="1025"/>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5" name="Freeform 114">
              <a:extLst>
                <a:ext uri="{FF2B5EF4-FFF2-40B4-BE49-F238E27FC236}">
                  <a16:creationId xmlns:a16="http://schemas.microsoft.com/office/drawing/2014/main" id="{B772F991-7DC8-41BA-8B73-3B708C122A84}"/>
                </a:ext>
              </a:extLst>
            </p:cNvPr>
            <p:cNvSpPr>
              <a:spLocks/>
            </p:cNvSpPr>
            <p:nvPr/>
          </p:nvSpPr>
          <p:spPr bwMode="auto">
            <a:xfrm>
              <a:off x="8580438" y="2997200"/>
              <a:ext cx="584200" cy="989013"/>
            </a:xfrm>
            <a:custGeom>
              <a:avLst/>
              <a:gdLst>
                <a:gd name="T0" fmla="*/ 712 w 736"/>
                <a:gd name="T1" fmla="*/ 1245 h 1245"/>
                <a:gd name="T2" fmla="*/ 0 w 736"/>
                <a:gd name="T3" fmla="*/ 13 h 1245"/>
                <a:gd name="T4" fmla="*/ 24 w 736"/>
                <a:gd name="T5" fmla="*/ 0 h 1245"/>
                <a:gd name="T6" fmla="*/ 736 w 736"/>
                <a:gd name="T7" fmla="*/ 1232 h 1245"/>
                <a:gd name="T8" fmla="*/ 712 w 736"/>
                <a:gd name="T9" fmla="*/ 1245 h 1245"/>
              </a:gdLst>
              <a:ahLst/>
              <a:cxnLst>
                <a:cxn ang="0">
                  <a:pos x="T0" y="T1"/>
                </a:cxn>
                <a:cxn ang="0">
                  <a:pos x="T2" y="T3"/>
                </a:cxn>
                <a:cxn ang="0">
                  <a:pos x="T4" y="T5"/>
                </a:cxn>
                <a:cxn ang="0">
                  <a:pos x="T6" y="T7"/>
                </a:cxn>
                <a:cxn ang="0">
                  <a:pos x="T8" y="T9"/>
                </a:cxn>
              </a:cxnLst>
              <a:rect l="0" t="0" r="r" b="b"/>
              <a:pathLst>
                <a:path w="736" h="1245">
                  <a:moveTo>
                    <a:pt x="712" y="1245"/>
                  </a:moveTo>
                  <a:lnTo>
                    <a:pt x="0" y="13"/>
                  </a:lnTo>
                  <a:lnTo>
                    <a:pt x="24" y="0"/>
                  </a:lnTo>
                  <a:lnTo>
                    <a:pt x="736" y="1232"/>
                  </a:lnTo>
                  <a:lnTo>
                    <a:pt x="712" y="1245"/>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6" name="Freeform 115">
              <a:extLst>
                <a:ext uri="{FF2B5EF4-FFF2-40B4-BE49-F238E27FC236}">
                  <a16:creationId xmlns:a16="http://schemas.microsoft.com/office/drawing/2014/main" id="{66A622C1-445B-47B9-A9CE-8D79CA593909}"/>
                </a:ext>
              </a:extLst>
            </p:cNvPr>
            <p:cNvSpPr>
              <a:spLocks/>
            </p:cNvSpPr>
            <p:nvPr/>
          </p:nvSpPr>
          <p:spPr bwMode="auto">
            <a:xfrm>
              <a:off x="8716963" y="2943225"/>
              <a:ext cx="311150" cy="1095375"/>
            </a:xfrm>
            <a:custGeom>
              <a:avLst/>
              <a:gdLst>
                <a:gd name="T0" fmla="*/ 368 w 394"/>
                <a:gd name="T1" fmla="*/ 1381 h 1381"/>
                <a:gd name="T2" fmla="*/ 0 w 394"/>
                <a:gd name="T3" fmla="*/ 7 h 1381"/>
                <a:gd name="T4" fmla="*/ 26 w 394"/>
                <a:gd name="T5" fmla="*/ 0 h 1381"/>
                <a:gd name="T6" fmla="*/ 394 w 394"/>
                <a:gd name="T7" fmla="*/ 1374 h 1381"/>
                <a:gd name="T8" fmla="*/ 368 w 394"/>
                <a:gd name="T9" fmla="*/ 1381 h 1381"/>
              </a:gdLst>
              <a:ahLst/>
              <a:cxnLst>
                <a:cxn ang="0">
                  <a:pos x="T0" y="T1"/>
                </a:cxn>
                <a:cxn ang="0">
                  <a:pos x="T2" y="T3"/>
                </a:cxn>
                <a:cxn ang="0">
                  <a:pos x="T4" y="T5"/>
                </a:cxn>
                <a:cxn ang="0">
                  <a:pos x="T6" y="T7"/>
                </a:cxn>
                <a:cxn ang="0">
                  <a:pos x="T8" y="T9"/>
                </a:cxn>
              </a:cxnLst>
              <a:rect l="0" t="0" r="r" b="b"/>
              <a:pathLst>
                <a:path w="394" h="1381">
                  <a:moveTo>
                    <a:pt x="368" y="1381"/>
                  </a:moveTo>
                  <a:lnTo>
                    <a:pt x="0" y="7"/>
                  </a:lnTo>
                  <a:lnTo>
                    <a:pt x="26" y="0"/>
                  </a:lnTo>
                  <a:lnTo>
                    <a:pt x="394" y="1374"/>
                  </a:lnTo>
                  <a:lnTo>
                    <a:pt x="368" y="1381"/>
                  </a:lnTo>
                  <a:close/>
                </a:path>
              </a:pathLst>
            </a:custGeom>
            <a:solidFill>
              <a:srgbClr val="878C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7" name="Rectangle 116">
              <a:extLst>
                <a:ext uri="{FF2B5EF4-FFF2-40B4-BE49-F238E27FC236}">
                  <a16:creationId xmlns:a16="http://schemas.microsoft.com/office/drawing/2014/main" id="{07B2C4E2-3285-4231-A763-ECDF6477772A}"/>
                </a:ext>
              </a:extLst>
            </p:cNvPr>
            <p:cNvSpPr>
              <a:spLocks noChangeArrowheads="1"/>
            </p:cNvSpPr>
            <p:nvPr/>
          </p:nvSpPr>
          <p:spPr bwMode="auto">
            <a:xfrm>
              <a:off x="8861426" y="2927350"/>
              <a:ext cx="22225" cy="1128713"/>
            </a:xfrm>
            <a:prstGeom prst="rect">
              <a:avLst/>
            </a:prstGeom>
            <a:solidFill>
              <a:srgbClr val="878C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8" name="Freeform 117">
              <a:extLst>
                <a:ext uri="{FF2B5EF4-FFF2-40B4-BE49-F238E27FC236}">
                  <a16:creationId xmlns:a16="http://schemas.microsoft.com/office/drawing/2014/main" id="{7A877DB2-8C4C-4AA4-B8B0-BDBD81FCD0CC}"/>
                </a:ext>
              </a:extLst>
            </p:cNvPr>
            <p:cNvSpPr>
              <a:spLocks/>
            </p:cNvSpPr>
            <p:nvPr/>
          </p:nvSpPr>
          <p:spPr bwMode="gray">
            <a:xfrm>
              <a:off x="8399463" y="3019425"/>
              <a:ext cx="946150" cy="944563"/>
            </a:xfrm>
            <a:custGeom>
              <a:avLst/>
              <a:gdLst>
                <a:gd name="T0" fmla="*/ 1189 w 1190"/>
                <a:gd name="T1" fmla="*/ 625 h 1188"/>
                <a:gd name="T2" fmla="*/ 1178 w 1190"/>
                <a:gd name="T3" fmla="*/ 713 h 1188"/>
                <a:gd name="T4" fmla="*/ 1154 w 1190"/>
                <a:gd name="T5" fmla="*/ 798 h 1188"/>
                <a:gd name="T6" fmla="*/ 1118 w 1190"/>
                <a:gd name="T7" fmla="*/ 877 h 1188"/>
                <a:gd name="T8" fmla="*/ 1072 w 1190"/>
                <a:gd name="T9" fmla="*/ 950 h 1188"/>
                <a:gd name="T10" fmla="*/ 1016 w 1190"/>
                <a:gd name="T11" fmla="*/ 1013 h 1188"/>
                <a:gd name="T12" fmla="*/ 951 w 1190"/>
                <a:gd name="T13" fmla="*/ 1070 h 1188"/>
                <a:gd name="T14" fmla="*/ 879 w 1190"/>
                <a:gd name="T15" fmla="*/ 1115 h 1188"/>
                <a:gd name="T16" fmla="*/ 800 w 1190"/>
                <a:gd name="T17" fmla="*/ 1151 h 1188"/>
                <a:gd name="T18" fmla="*/ 715 w 1190"/>
                <a:gd name="T19" fmla="*/ 1175 h 1188"/>
                <a:gd name="T20" fmla="*/ 626 w 1190"/>
                <a:gd name="T21" fmla="*/ 1187 h 1188"/>
                <a:gd name="T22" fmla="*/ 564 w 1190"/>
                <a:gd name="T23" fmla="*/ 1187 h 1188"/>
                <a:gd name="T24" fmla="*/ 475 w 1190"/>
                <a:gd name="T25" fmla="*/ 1175 h 1188"/>
                <a:gd name="T26" fmla="*/ 390 w 1190"/>
                <a:gd name="T27" fmla="*/ 1151 h 1188"/>
                <a:gd name="T28" fmla="*/ 311 w 1190"/>
                <a:gd name="T29" fmla="*/ 1115 h 1188"/>
                <a:gd name="T30" fmla="*/ 239 w 1190"/>
                <a:gd name="T31" fmla="*/ 1070 h 1188"/>
                <a:gd name="T32" fmla="*/ 174 w 1190"/>
                <a:gd name="T33" fmla="*/ 1013 h 1188"/>
                <a:gd name="T34" fmla="*/ 118 w 1190"/>
                <a:gd name="T35" fmla="*/ 950 h 1188"/>
                <a:gd name="T36" fmla="*/ 72 w 1190"/>
                <a:gd name="T37" fmla="*/ 877 h 1188"/>
                <a:gd name="T38" fmla="*/ 36 w 1190"/>
                <a:gd name="T39" fmla="*/ 798 h 1188"/>
                <a:gd name="T40" fmla="*/ 12 w 1190"/>
                <a:gd name="T41" fmla="*/ 713 h 1188"/>
                <a:gd name="T42" fmla="*/ 1 w 1190"/>
                <a:gd name="T43" fmla="*/ 625 h 1188"/>
                <a:gd name="T44" fmla="*/ 1 w 1190"/>
                <a:gd name="T45" fmla="*/ 563 h 1188"/>
                <a:gd name="T46" fmla="*/ 12 w 1190"/>
                <a:gd name="T47" fmla="*/ 473 h 1188"/>
                <a:gd name="T48" fmla="*/ 36 w 1190"/>
                <a:gd name="T49" fmla="*/ 390 h 1188"/>
                <a:gd name="T50" fmla="*/ 72 w 1190"/>
                <a:gd name="T51" fmla="*/ 310 h 1188"/>
                <a:gd name="T52" fmla="*/ 118 w 1190"/>
                <a:gd name="T53" fmla="*/ 239 h 1188"/>
                <a:gd name="T54" fmla="*/ 174 w 1190"/>
                <a:gd name="T55" fmla="*/ 174 h 1188"/>
                <a:gd name="T56" fmla="*/ 239 w 1190"/>
                <a:gd name="T57" fmla="*/ 118 h 1188"/>
                <a:gd name="T58" fmla="*/ 311 w 1190"/>
                <a:gd name="T59" fmla="*/ 71 h 1188"/>
                <a:gd name="T60" fmla="*/ 390 w 1190"/>
                <a:gd name="T61" fmla="*/ 36 h 1188"/>
                <a:gd name="T62" fmla="*/ 475 w 1190"/>
                <a:gd name="T63" fmla="*/ 12 h 1188"/>
                <a:gd name="T64" fmla="*/ 564 w 1190"/>
                <a:gd name="T65" fmla="*/ 0 h 1188"/>
                <a:gd name="T66" fmla="*/ 626 w 1190"/>
                <a:gd name="T67" fmla="*/ 0 h 1188"/>
                <a:gd name="T68" fmla="*/ 715 w 1190"/>
                <a:gd name="T69" fmla="*/ 12 h 1188"/>
                <a:gd name="T70" fmla="*/ 800 w 1190"/>
                <a:gd name="T71" fmla="*/ 36 h 1188"/>
                <a:gd name="T72" fmla="*/ 879 w 1190"/>
                <a:gd name="T73" fmla="*/ 71 h 1188"/>
                <a:gd name="T74" fmla="*/ 951 w 1190"/>
                <a:gd name="T75" fmla="*/ 118 h 1188"/>
                <a:gd name="T76" fmla="*/ 1016 w 1190"/>
                <a:gd name="T77" fmla="*/ 174 h 1188"/>
                <a:gd name="T78" fmla="*/ 1072 w 1190"/>
                <a:gd name="T79" fmla="*/ 239 h 1188"/>
                <a:gd name="T80" fmla="*/ 1118 w 1190"/>
                <a:gd name="T81" fmla="*/ 310 h 1188"/>
                <a:gd name="T82" fmla="*/ 1154 w 1190"/>
                <a:gd name="T83" fmla="*/ 390 h 1188"/>
                <a:gd name="T84" fmla="*/ 1178 w 1190"/>
                <a:gd name="T85" fmla="*/ 473 h 1188"/>
                <a:gd name="T86" fmla="*/ 1189 w 1190"/>
                <a:gd name="T87" fmla="*/ 56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90" h="1188">
                  <a:moveTo>
                    <a:pt x="1190" y="594"/>
                  </a:moveTo>
                  <a:lnTo>
                    <a:pt x="1190" y="594"/>
                  </a:lnTo>
                  <a:lnTo>
                    <a:pt x="1189" y="625"/>
                  </a:lnTo>
                  <a:lnTo>
                    <a:pt x="1187" y="654"/>
                  </a:lnTo>
                  <a:lnTo>
                    <a:pt x="1183" y="684"/>
                  </a:lnTo>
                  <a:lnTo>
                    <a:pt x="1178" y="713"/>
                  </a:lnTo>
                  <a:lnTo>
                    <a:pt x="1172" y="743"/>
                  </a:lnTo>
                  <a:lnTo>
                    <a:pt x="1164" y="770"/>
                  </a:lnTo>
                  <a:lnTo>
                    <a:pt x="1154" y="798"/>
                  </a:lnTo>
                  <a:lnTo>
                    <a:pt x="1144" y="825"/>
                  </a:lnTo>
                  <a:lnTo>
                    <a:pt x="1132" y="851"/>
                  </a:lnTo>
                  <a:lnTo>
                    <a:pt x="1118" y="877"/>
                  </a:lnTo>
                  <a:lnTo>
                    <a:pt x="1104" y="902"/>
                  </a:lnTo>
                  <a:lnTo>
                    <a:pt x="1089" y="926"/>
                  </a:lnTo>
                  <a:lnTo>
                    <a:pt x="1072" y="950"/>
                  </a:lnTo>
                  <a:lnTo>
                    <a:pt x="1055" y="972"/>
                  </a:lnTo>
                  <a:lnTo>
                    <a:pt x="1036" y="993"/>
                  </a:lnTo>
                  <a:lnTo>
                    <a:pt x="1016" y="1013"/>
                  </a:lnTo>
                  <a:lnTo>
                    <a:pt x="995" y="1033"/>
                  </a:lnTo>
                  <a:lnTo>
                    <a:pt x="974" y="1052"/>
                  </a:lnTo>
                  <a:lnTo>
                    <a:pt x="951" y="1070"/>
                  </a:lnTo>
                  <a:lnTo>
                    <a:pt x="928" y="1086"/>
                  </a:lnTo>
                  <a:lnTo>
                    <a:pt x="903" y="1102"/>
                  </a:lnTo>
                  <a:lnTo>
                    <a:pt x="879" y="1115"/>
                  </a:lnTo>
                  <a:lnTo>
                    <a:pt x="853" y="1129"/>
                  </a:lnTo>
                  <a:lnTo>
                    <a:pt x="826" y="1141"/>
                  </a:lnTo>
                  <a:lnTo>
                    <a:pt x="800" y="1151"/>
                  </a:lnTo>
                  <a:lnTo>
                    <a:pt x="772" y="1160"/>
                  </a:lnTo>
                  <a:lnTo>
                    <a:pt x="744" y="1168"/>
                  </a:lnTo>
                  <a:lnTo>
                    <a:pt x="715" y="1175"/>
                  </a:lnTo>
                  <a:lnTo>
                    <a:pt x="685" y="1180"/>
                  </a:lnTo>
                  <a:lnTo>
                    <a:pt x="656" y="1184"/>
                  </a:lnTo>
                  <a:lnTo>
                    <a:pt x="626" y="1187"/>
                  </a:lnTo>
                  <a:lnTo>
                    <a:pt x="595" y="1188"/>
                  </a:lnTo>
                  <a:lnTo>
                    <a:pt x="595" y="1188"/>
                  </a:lnTo>
                  <a:lnTo>
                    <a:pt x="564" y="1187"/>
                  </a:lnTo>
                  <a:lnTo>
                    <a:pt x="534" y="1184"/>
                  </a:lnTo>
                  <a:lnTo>
                    <a:pt x="505" y="1180"/>
                  </a:lnTo>
                  <a:lnTo>
                    <a:pt x="475" y="1175"/>
                  </a:lnTo>
                  <a:lnTo>
                    <a:pt x="446" y="1168"/>
                  </a:lnTo>
                  <a:lnTo>
                    <a:pt x="418" y="1160"/>
                  </a:lnTo>
                  <a:lnTo>
                    <a:pt x="390" y="1151"/>
                  </a:lnTo>
                  <a:lnTo>
                    <a:pt x="364" y="1141"/>
                  </a:lnTo>
                  <a:lnTo>
                    <a:pt x="337" y="1129"/>
                  </a:lnTo>
                  <a:lnTo>
                    <a:pt x="311" y="1115"/>
                  </a:lnTo>
                  <a:lnTo>
                    <a:pt x="287" y="1102"/>
                  </a:lnTo>
                  <a:lnTo>
                    <a:pt x="263" y="1086"/>
                  </a:lnTo>
                  <a:lnTo>
                    <a:pt x="239" y="1070"/>
                  </a:lnTo>
                  <a:lnTo>
                    <a:pt x="216" y="1052"/>
                  </a:lnTo>
                  <a:lnTo>
                    <a:pt x="195" y="1033"/>
                  </a:lnTo>
                  <a:lnTo>
                    <a:pt x="174" y="1013"/>
                  </a:lnTo>
                  <a:lnTo>
                    <a:pt x="154" y="993"/>
                  </a:lnTo>
                  <a:lnTo>
                    <a:pt x="135" y="972"/>
                  </a:lnTo>
                  <a:lnTo>
                    <a:pt x="118" y="950"/>
                  </a:lnTo>
                  <a:lnTo>
                    <a:pt x="102" y="926"/>
                  </a:lnTo>
                  <a:lnTo>
                    <a:pt x="86" y="902"/>
                  </a:lnTo>
                  <a:lnTo>
                    <a:pt x="72" y="877"/>
                  </a:lnTo>
                  <a:lnTo>
                    <a:pt x="58" y="851"/>
                  </a:lnTo>
                  <a:lnTo>
                    <a:pt x="46" y="825"/>
                  </a:lnTo>
                  <a:lnTo>
                    <a:pt x="36" y="798"/>
                  </a:lnTo>
                  <a:lnTo>
                    <a:pt x="26" y="770"/>
                  </a:lnTo>
                  <a:lnTo>
                    <a:pt x="18" y="743"/>
                  </a:lnTo>
                  <a:lnTo>
                    <a:pt x="12" y="713"/>
                  </a:lnTo>
                  <a:lnTo>
                    <a:pt x="7" y="684"/>
                  </a:lnTo>
                  <a:lnTo>
                    <a:pt x="3" y="654"/>
                  </a:lnTo>
                  <a:lnTo>
                    <a:pt x="1" y="625"/>
                  </a:lnTo>
                  <a:lnTo>
                    <a:pt x="0" y="594"/>
                  </a:lnTo>
                  <a:lnTo>
                    <a:pt x="0" y="594"/>
                  </a:lnTo>
                  <a:lnTo>
                    <a:pt x="1" y="563"/>
                  </a:lnTo>
                  <a:lnTo>
                    <a:pt x="3" y="533"/>
                  </a:lnTo>
                  <a:lnTo>
                    <a:pt x="7" y="502"/>
                  </a:lnTo>
                  <a:lnTo>
                    <a:pt x="12" y="473"/>
                  </a:lnTo>
                  <a:lnTo>
                    <a:pt x="18" y="445"/>
                  </a:lnTo>
                  <a:lnTo>
                    <a:pt x="26" y="416"/>
                  </a:lnTo>
                  <a:lnTo>
                    <a:pt x="36" y="390"/>
                  </a:lnTo>
                  <a:lnTo>
                    <a:pt x="46" y="362"/>
                  </a:lnTo>
                  <a:lnTo>
                    <a:pt x="58" y="335"/>
                  </a:lnTo>
                  <a:lnTo>
                    <a:pt x="72" y="310"/>
                  </a:lnTo>
                  <a:lnTo>
                    <a:pt x="86" y="285"/>
                  </a:lnTo>
                  <a:lnTo>
                    <a:pt x="102" y="261"/>
                  </a:lnTo>
                  <a:lnTo>
                    <a:pt x="118" y="239"/>
                  </a:lnTo>
                  <a:lnTo>
                    <a:pt x="135" y="216"/>
                  </a:lnTo>
                  <a:lnTo>
                    <a:pt x="154" y="193"/>
                  </a:lnTo>
                  <a:lnTo>
                    <a:pt x="174" y="174"/>
                  </a:lnTo>
                  <a:lnTo>
                    <a:pt x="195" y="154"/>
                  </a:lnTo>
                  <a:lnTo>
                    <a:pt x="216" y="135"/>
                  </a:lnTo>
                  <a:lnTo>
                    <a:pt x="239" y="118"/>
                  </a:lnTo>
                  <a:lnTo>
                    <a:pt x="263" y="101"/>
                  </a:lnTo>
                  <a:lnTo>
                    <a:pt x="287" y="85"/>
                  </a:lnTo>
                  <a:lnTo>
                    <a:pt x="311" y="71"/>
                  </a:lnTo>
                  <a:lnTo>
                    <a:pt x="337" y="58"/>
                  </a:lnTo>
                  <a:lnTo>
                    <a:pt x="364" y="46"/>
                  </a:lnTo>
                  <a:lnTo>
                    <a:pt x="390" y="36"/>
                  </a:lnTo>
                  <a:lnTo>
                    <a:pt x="418" y="26"/>
                  </a:lnTo>
                  <a:lnTo>
                    <a:pt x="446" y="18"/>
                  </a:lnTo>
                  <a:lnTo>
                    <a:pt x="475" y="12"/>
                  </a:lnTo>
                  <a:lnTo>
                    <a:pt x="505" y="6"/>
                  </a:lnTo>
                  <a:lnTo>
                    <a:pt x="534" y="2"/>
                  </a:lnTo>
                  <a:lnTo>
                    <a:pt x="564" y="0"/>
                  </a:lnTo>
                  <a:lnTo>
                    <a:pt x="595" y="0"/>
                  </a:lnTo>
                  <a:lnTo>
                    <a:pt x="595" y="0"/>
                  </a:lnTo>
                  <a:lnTo>
                    <a:pt x="626" y="0"/>
                  </a:lnTo>
                  <a:lnTo>
                    <a:pt x="656" y="2"/>
                  </a:lnTo>
                  <a:lnTo>
                    <a:pt x="685" y="6"/>
                  </a:lnTo>
                  <a:lnTo>
                    <a:pt x="715" y="12"/>
                  </a:lnTo>
                  <a:lnTo>
                    <a:pt x="744" y="18"/>
                  </a:lnTo>
                  <a:lnTo>
                    <a:pt x="772" y="26"/>
                  </a:lnTo>
                  <a:lnTo>
                    <a:pt x="800" y="36"/>
                  </a:lnTo>
                  <a:lnTo>
                    <a:pt x="826" y="46"/>
                  </a:lnTo>
                  <a:lnTo>
                    <a:pt x="853" y="58"/>
                  </a:lnTo>
                  <a:lnTo>
                    <a:pt x="879" y="71"/>
                  </a:lnTo>
                  <a:lnTo>
                    <a:pt x="903" y="85"/>
                  </a:lnTo>
                  <a:lnTo>
                    <a:pt x="928" y="101"/>
                  </a:lnTo>
                  <a:lnTo>
                    <a:pt x="951" y="118"/>
                  </a:lnTo>
                  <a:lnTo>
                    <a:pt x="974" y="135"/>
                  </a:lnTo>
                  <a:lnTo>
                    <a:pt x="995" y="154"/>
                  </a:lnTo>
                  <a:lnTo>
                    <a:pt x="1016" y="174"/>
                  </a:lnTo>
                  <a:lnTo>
                    <a:pt x="1036" y="193"/>
                  </a:lnTo>
                  <a:lnTo>
                    <a:pt x="1055" y="216"/>
                  </a:lnTo>
                  <a:lnTo>
                    <a:pt x="1072" y="239"/>
                  </a:lnTo>
                  <a:lnTo>
                    <a:pt x="1089" y="261"/>
                  </a:lnTo>
                  <a:lnTo>
                    <a:pt x="1104" y="285"/>
                  </a:lnTo>
                  <a:lnTo>
                    <a:pt x="1118" y="310"/>
                  </a:lnTo>
                  <a:lnTo>
                    <a:pt x="1132" y="335"/>
                  </a:lnTo>
                  <a:lnTo>
                    <a:pt x="1144" y="362"/>
                  </a:lnTo>
                  <a:lnTo>
                    <a:pt x="1154" y="390"/>
                  </a:lnTo>
                  <a:lnTo>
                    <a:pt x="1164" y="416"/>
                  </a:lnTo>
                  <a:lnTo>
                    <a:pt x="1172" y="445"/>
                  </a:lnTo>
                  <a:lnTo>
                    <a:pt x="1178" y="473"/>
                  </a:lnTo>
                  <a:lnTo>
                    <a:pt x="1183" y="502"/>
                  </a:lnTo>
                  <a:lnTo>
                    <a:pt x="1187" y="533"/>
                  </a:lnTo>
                  <a:lnTo>
                    <a:pt x="1189" y="563"/>
                  </a:lnTo>
                  <a:lnTo>
                    <a:pt x="1190" y="594"/>
                  </a:lnTo>
                  <a:lnTo>
                    <a:pt x="1190" y="5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49" name="Freeform 118">
              <a:extLst>
                <a:ext uri="{FF2B5EF4-FFF2-40B4-BE49-F238E27FC236}">
                  <a16:creationId xmlns:a16="http://schemas.microsoft.com/office/drawing/2014/main" id="{C724C10C-8BAD-4B04-9BB5-61CBBCBDB835}"/>
                </a:ext>
              </a:extLst>
            </p:cNvPr>
            <p:cNvSpPr>
              <a:spLocks/>
            </p:cNvSpPr>
            <p:nvPr/>
          </p:nvSpPr>
          <p:spPr bwMode="gray">
            <a:xfrm>
              <a:off x="8464551" y="3290888"/>
              <a:ext cx="809625" cy="404813"/>
            </a:xfrm>
            <a:custGeom>
              <a:avLst/>
              <a:gdLst>
                <a:gd name="T0" fmla="*/ 1020 w 1020"/>
                <a:gd name="T1" fmla="*/ 254 h 509"/>
                <a:gd name="T2" fmla="*/ 968 w 1020"/>
                <a:gd name="T3" fmla="*/ 197 h 509"/>
                <a:gd name="T4" fmla="*/ 913 w 1020"/>
                <a:gd name="T5" fmla="*/ 148 h 509"/>
                <a:gd name="T6" fmla="*/ 853 w 1020"/>
                <a:gd name="T7" fmla="*/ 104 h 509"/>
                <a:gd name="T8" fmla="*/ 790 w 1020"/>
                <a:gd name="T9" fmla="*/ 67 h 509"/>
                <a:gd name="T10" fmla="*/ 724 w 1020"/>
                <a:gd name="T11" fmla="*/ 38 h 509"/>
                <a:gd name="T12" fmla="*/ 655 w 1020"/>
                <a:gd name="T13" fmla="*/ 17 h 509"/>
                <a:gd name="T14" fmla="*/ 583 w 1020"/>
                <a:gd name="T15" fmla="*/ 4 h 509"/>
                <a:gd name="T16" fmla="*/ 510 w 1020"/>
                <a:gd name="T17" fmla="*/ 0 h 509"/>
                <a:gd name="T18" fmla="*/ 474 w 1020"/>
                <a:gd name="T19" fmla="*/ 1 h 509"/>
                <a:gd name="T20" fmla="*/ 401 w 1020"/>
                <a:gd name="T21" fmla="*/ 9 h 509"/>
                <a:gd name="T22" fmla="*/ 332 w 1020"/>
                <a:gd name="T23" fmla="*/ 26 h 509"/>
                <a:gd name="T24" fmla="*/ 264 w 1020"/>
                <a:gd name="T25" fmla="*/ 53 h 509"/>
                <a:gd name="T26" fmla="*/ 199 w 1020"/>
                <a:gd name="T27" fmla="*/ 85 h 509"/>
                <a:gd name="T28" fmla="*/ 138 w 1020"/>
                <a:gd name="T29" fmla="*/ 126 h 509"/>
                <a:gd name="T30" fmla="*/ 80 w 1020"/>
                <a:gd name="T31" fmla="*/ 172 h 509"/>
                <a:gd name="T32" fmla="*/ 26 w 1020"/>
                <a:gd name="T33" fmla="*/ 225 h 509"/>
                <a:gd name="T34" fmla="*/ 0 w 1020"/>
                <a:gd name="T35" fmla="*/ 254 h 509"/>
                <a:gd name="T36" fmla="*/ 53 w 1020"/>
                <a:gd name="T37" fmla="*/ 310 h 509"/>
                <a:gd name="T38" fmla="*/ 109 w 1020"/>
                <a:gd name="T39" fmla="*/ 360 h 509"/>
                <a:gd name="T40" fmla="*/ 169 w 1020"/>
                <a:gd name="T41" fmla="*/ 404 h 509"/>
                <a:gd name="T42" fmla="*/ 231 w 1020"/>
                <a:gd name="T43" fmla="*/ 441 h 509"/>
                <a:gd name="T44" fmla="*/ 297 w 1020"/>
                <a:gd name="T45" fmla="*/ 471 h 509"/>
                <a:gd name="T46" fmla="*/ 367 w 1020"/>
                <a:gd name="T47" fmla="*/ 492 h 509"/>
                <a:gd name="T48" fmla="*/ 437 w 1020"/>
                <a:gd name="T49" fmla="*/ 505 h 509"/>
                <a:gd name="T50" fmla="*/ 510 w 1020"/>
                <a:gd name="T51" fmla="*/ 509 h 509"/>
                <a:gd name="T52" fmla="*/ 547 w 1020"/>
                <a:gd name="T53" fmla="*/ 508 h 509"/>
                <a:gd name="T54" fmla="*/ 619 w 1020"/>
                <a:gd name="T55" fmla="*/ 498 h 509"/>
                <a:gd name="T56" fmla="*/ 689 w 1020"/>
                <a:gd name="T57" fmla="*/ 481 h 509"/>
                <a:gd name="T58" fmla="*/ 757 w 1020"/>
                <a:gd name="T59" fmla="*/ 456 h 509"/>
                <a:gd name="T60" fmla="*/ 822 w 1020"/>
                <a:gd name="T61" fmla="*/ 423 h 509"/>
                <a:gd name="T62" fmla="*/ 883 w 1020"/>
                <a:gd name="T63" fmla="*/ 383 h 509"/>
                <a:gd name="T64" fmla="*/ 940 w 1020"/>
                <a:gd name="T65" fmla="*/ 337 h 509"/>
                <a:gd name="T66" fmla="*/ 995 w 1020"/>
                <a:gd name="T67" fmla="*/ 284 h 509"/>
                <a:gd name="T68" fmla="*/ 1020 w 1020"/>
                <a:gd name="T69" fmla="*/ 2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0" h="509">
                  <a:moveTo>
                    <a:pt x="1020" y="254"/>
                  </a:moveTo>
                  <a:lnTo>
                    <a:pt x="1020" y="254"/>
                  </a:lnTo>
                  <a:lnTo>
                    <a:pt x="995" y="225"/>
                  </a:lnTo>
                  <a:lnTo>
                    <a:pt x="968" y="197"/>
                  </a:lnTo>
                  <a:lnTo>
                    <a:pt x="940" y="172"/>
                  </a:lnTo>
                  <a:lnTo>
                    <a:pt x="913" y="148"/>
                  </a:lnTo>
                  <a:lnTo>
                    <a:pt x="883" y="126"/>
                  </a:lnTo>
                  <a:lnTo>
                    <a:pt x="853" y="104"/>
                  </a:lnTo>
                  <a:lnTo>
                    <a:pt x="822" y="85"/>
                  </a:lnTo>
                  <a:lnTo>
                    <a:pt x="790" y="67"/>
                  </a:lnTo>
                  <a:lnTo>
                    <a:pt x="757" y="53"/>
                  </a:lnTo>
                  <a:lnTo>
                    <a:pt x="724" y="38"/>
                  </a:lnTo>
                  <a:lnTo>
                    <a:pt x="689" y="26"/>
                  </a:lnTo>
                  <a:lnTo>
                    <a:pt x="655" y="17"/>
                  </a:lnTo>
                  <a:lnTo>
                    <a:pt x="619" y="9"/>
                  </a:lnTo>
                  <a:lnTo>
                    <a:pt x="583" y="4"/>
                  </a:lnTo>
                  <a:lnTo>
                    <a:pt x="547" y="1"/>
                  </a:lnTo>
                  <a:lnTo>
                    <a:pt x="510" y="0"/>
                  </a:lnTo>
                  <a:lnTo>
                    <a:pt x="510" y="0"/>
                  </a:lnTo>
                  <a:lnTo>
                    <a:pt x="474" y="1"/>
                  </a:lnTo>
                  <a:lnTo>
                    <a:pt x="437" y="4"/>
                  </a:lnTo>
                  <a:lnTo>
                    <a:pt x="401" y="9"/>
                  </a:lnTo>
                  <a:lnTo>
                    <a:pt x="367" y="17"/>
                  </a:lnTo>
                  <a:lnTo>
                    <a:pt x="332" y="26"/>
                  </a:lnTo>
                  <a:lnTo>
                    <a:pt x="297" y="38"/>
                  </a:lnTo>
                  <a:lnTo>
                    <a:pt x="264" y="53"/>
                  </a:lnTo>
                  <a:lnTo>
                    <a:pt x="231" y="67"/>
                  </a:lnTo>
                  <a:lnTo>
                    <a:pt x="199" y="85"/>
                  </a:lnTo>
                  <a:lnTo>
                    <a:pt x="169" y="104"/>
                  </a:lnTo>
                  <a:lnTo>
                    <a:pt x="138" y="126"/>
                  </a:lnTo>
                  <a:lnTo>
                    <a:pt x="109" y="148"/>
                  </a:lnTo>
                  <a:lnTo>
                    <a:pt x="80" y="172"/>
                  </a:lnTo>
                  <a:lnTo>
                    <a:pt x="53" y="197"/>
                  </a:lnTo>
                  <a:lnTo>
                    <a:pt x="26" y="225"/>
                  </a:lnTo>
                  <a:lnTo>
                    <a:pt x="0" y="254"/>
                  </a:lnTo>
                  <a:lnTo>
                    <a:pt x="0" y="254"/>
                  </a:lnTo>
                  <a:lnTo>
                    <a:pt x="26" y="284"/>
                  </a:lnTo>
                  <a:lnTo>
                    <a:pt x="53" y="310"/>
                  </a:lnTo>
                  <a:lnTo>
                    <a:pt x="80" y="337"/>
                  </a:lnTo>
                  <a:lnTo>
                    <a:pt x="109" y="360"/>
                  </a:lnTo>
                  <a:lnTo>
                    <a:pt x="138" y="383"/>
                  </a:lnTo>
                  <a:lnTo>
                    <a:pt x="169" y="404"/>
                  </a:lnTo>
                  <a:lnTo>
                    <a:pt x="199" y="423"/>
                  </a:lnTo>
                  <a:lnTo>
                    <a:pt x="231" y="441"/>
                  </a:lnTo>
                  <a:lnTo>
                    <a:pt x="264" y="456"/>
                  </a:lnTo>
                  <a:lnTo>
                    <a:pt x="297" y="471"/>
                  </a:lnTo>
                  <a:lnTo>
                    <a:pt x="332" y="481"/>
                  </a:lnTo>
                  <a:lnTo>
                    <a:pt x="367" y="492"/>
                  </a:lnTo>
                  <a:lnTo>
                    <a:pt x="401" y="498"/>
                  </a:lnTo>
                  <a:lnTo>
                    <a:pt x="437" y="505"/>
                  </a:lnTo>
                  <a:lnTo>
                    <a:pt x="474" y="508"/>
                  </a:lnTo>
                  <a:lnTo>
                    <a:pt x="510" y="509"/>
                  </a:lnTo>
                  <a:lnTo>
                    <a:pt x="510" y="509"/>
                  </a:lnTo>
                  <a:lnTo>
                    <a:pt x="547" y="508"/>
                  </a:lnTo>
                  <a:lnTo>
                    <a:pt x="583" y="505"/>
                  </a:lnTo>
                  <a:lnTo>
                    <a:pt x="619" y="498"/>
                  </a:lnTo>
                  <a:lnTo>
                    <a:pt x="655" y="492"/>
                  </a:lnTo>
                  <a:lnTo>
                    <a:pt x="689" y="481"/>
                  </a:lnTo>
                  <a:lnTo>
                    <a:pt x="724" y="471"/>
                  </a:lnTo>
                  <a:lnTo>
                    <a:pt x="757" y="456"/>
                  </a:lnTo>
                  <a:lnTo>
                    <a:pt x="790" y="441"/>
                  </a:lnTo>
                  <a:lnTo>
                    <a:pt x="822" y="423"/>
                  </a:lnTo>
                  <a:lnTo>
                    <a:pt x="853" y="404"/>
                  </a:lnTo>
                  <a:lnTo>
                    <a:pt x="883" y="383"/>
                  </a:lnTo>
                  <a:lnTo>
                    <a:pt x="913" y="360"/>
                  </a:lnTo>
                  <a:lnTo>
                    <a:pt x="940" y="337"/>
                  </a:lnTo>
                  <a:lnTo>
                    <a:pt x="968" y="310"/>
                  </a:lnTo>
                  <a:lnTo>
                    <a:pt x="995" y="284"/>
                  </a:lnTo>
                  <a:lnTo>
                    <a:pt x="1020" y="254"/>
                  </a:lnTo>
                  <a:lnTo>
                    <a:pt x="102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50" name="Freeform 119">
              <a:extLst>
                <a:ext uri="{FF2B5EF4-FFF2-40B4-BE49-F238E27FC236}">
                  <a16:creationId xmlns:a16="http://schemas.microsoft.com/office/drawing/2014/main" id="{1F838607-5935-49A1-9D3D-034661FF4F4C}"/>
                </a:ext>
              </a:extLst>
            </p:cNvPr>
            <p:cNvSpPr>
              <a:spLocks noEditPoints="1"/>
            </p:cNvSpPr>
            <p:nvPr/>
          </p:nvSpPr>
          <p:spPr bwMode="auto">
            <a:xfrm>
              <a:off x="8450263" y="3279775"/>
              <a:ext cx="838200" cy="425450"/>
            </a:xfrm>
            <a:custGeom>
              <a:avLst/>
              <a:gdLst>
                <a:gd name="T0" fmla="*/ 491 w 1054"/>
                <a:gd name="T1" fmla="*/ 535 h 536"/>
                <a:gd name="T2" fmla="*/ 384 w 1054"/>
                <a:gd name="T3" fmla="*/ 519 h 536"/>
                <a:gd name="T4" fmla="*/ 281 w 1054"/>
                <a:gd name="T5" fmla="*/ 485 h 536"/>
                <a:gd name="T6" fmla="*/ 183 w 1054"/>
                <a:gd name="T7" fmla="*/ 433 h 536"/>
                <a:gd name="T8" fmla="*/ 91 w 1054"/>
                <a:gd name="T9" fmla="*/ 363 h 536"/>
                <a:gd name="T10" fmla="*/ 8 w 1054"/>
                <a:gd name="T11" fmla="*/ 276 h 536"/>
                <a:gd name="T12" fmla="*/ 8 w 1054"/>
                <a:gd name="T13" fmla="*/ 259 h 536"/>
                <a:gd name="T14" fmla="*/ 91 w 1054"/>
                <a:gd name="T15" fmla="*/ 174 h 536"/>
                <a:gd name="T16" fmla="*/ 183 w 1054"/>
                <a:gd name="T17" fmla="*/ 104 h 536"/>
                <a:gd name="T18" fmla="*/ 281 w 1054"/>
                <a:gd name="T19" fmla="*/ 52 h 536"/>
                <a:gd name="T20" fmla="*/ 384 w 1054"/>
                <a:gd name="T21" fmla="*/ 18 h 536"/>
                <a:gd name="T22" fmla="*/ 491 w 1054"/>
                <a:gd name="T23" fmla="*/ 2 h 536"/>
                <a:gd name="T24" fmla="*/ 564 w 1054"/>
                <a:gd name="T25" fmla="*/ 2 h 536"/>
                <a:gd name="T26" fmla="*/ 670 w 1054"/>
                <a:gd name="T27" fmla="*/ 18 h 536"/>
                <a:gd name="T28" fmla="*/ 774 w 1054"/>
                <a:gd name="T29" fmla="*/ 52 h 536"/>
                <a:gd name="T30" fmla="*/ 872 w 1054"/>
                <a:gd name="T31" fmla="*/ 104 h 536"/>
                <a:gd name="T32" fmla="*/ 964 w 1054"/>
                <a:gd name="T33" fmla="*/ 174 h 536"/>
                <a:gd name="T34" fmla="*/ 1048 w 1054"/>
                <a:gd name="T35" fmla="*/ 259 h 536"/>
                <a:gd name="T36" fmla="*/ 1048 w 1054"/>
                <a:gd name="T37" fmla="*/ 276 h 536"/>
                <a:gd name="T38" fmla="*/ 964 w 1054"/>
                <a:gd name="T39" fmla="*/ 363 h 536"/>
                <a:gd name="T40" fmla="*/ 872 w 1054"/>
                <a:gd name="T41" fmla="*/ 433 h 536"/>
                <a:gd name="T42" fmla="*/ 774 w 1054"/>
                <a:gd name="T43" fmla="*/ 485 h 536"/>
                <a:gd name="T44" fmla="*/ 670 w 1054"/>
                <a:gd name="T45" fmla="*/ 519 h 536"/>
                <a:gd name="T46" fmla="*/ 564 w 1054"/>
                <a:gd name="T47" fmla="*/ 535 h 536"/>
                <a:gd name="T48" fmla="*/ 34 w 1054"/>
                <a:gd name="T49" fmla="*/ 268 h 536"/>
                <a:gd name="T50" fmla="*/ 87 w 1054"/>
                <a:gd name="T51" fmla="*/ 323 h 536"/>
                <a:gd name="T52" fmla="*/ 172 w 1054"/>
                <a:gd name="T53" fmla="*/ 393 h 536"/>
                <a:gd name="T54" fmla="*/ 263 w 1054"/>
                <a:gd name="T55" fmla="*/ 447 h 536"/>
                <a:gd name="T56" fmla="*/ 360 w 1054"/>
                <a:gd name="T57" fmla="*/ 485 h 536"/>
                <a:gd name="T58" fmla="*/ 459 w 1054"/>
                <a:gd name="T59" fmla="*/ 506 h 536"/>
                <a:gd name="T60" fmla="*/ 527 w 1054"/>
                <a:gd name="T61" fmla="*/ 510 h 536"/>
                <a:gd name="T62" fmla="*/ 629 w 1054"/>
                <a:gd name="T63" fmla="*/ 500 h 536"/>
                <a:gd name="T64" fmla="*/ 729 w 1054"/>
                <a:gd name="T65" fmla="*/ 474 h 536"/>
                <a:gd name="T66" fmla="*/ 823 w 1054"/>
                <a:gd name="T67" fmla="*/ 431 h 536"/>
                <a:gd name="T68" fmla="*/ 912 w 1054"/>
                <a:gd name="T69" fmla="*/ 372 h 536"/>
                <a:gd name="T70" fmla="*/ 995 w 1054"/>
                <a:gd name="T71" fmla="*/ 296 h 536"/>
                <a:gd name="T72" fmla="*/ 995 w 1054"/>
                <a:gd name="T73" fmla="*/ 239 h 536"/>
                <a:gd name="T74" fmla="*/ 912 w 1054"/>
                <a:gd name="T75" fmla="*/ 165 h 536"/>
                <a:gd name="T76" fmla="*/ 823 w 1054"/>
                <a:gd name="T77" fmla="*/ 105 h 536"/>
                <a:gd name="T78" fmla="*/ 729 w 1054"/>
                <a:gd name="T79" fmla="*/ 63 h 536"/>
                <a:gd name="T80" fmla="*/ 629 w 1054"/>
                <a:gd name="T81" fmla="*/ 36 h 536"/>
                <a:gd name="T82" fmla="*/ 527 w 1054"/>
                <a:gd name="T83" fmla="*/ 27 h 536"/>
                <a:gd name="T84" fmla="*/ 459 w 1054"/>
                <a:gd name="T85" fmla="*/ 31 h 536"/>
                <a:gd name="T86" fmla="*/ 360 w 1054"/>
                <a:gd name="T87" fmla="*/ 51 h 536"/>
                <a:gd name="T88" fmla="*/ 263 w 1054"/>
                <a:gd name="T89" fmla="*/ 89 h 536"/>
                <a:gd name="T90" fmla="*/ 172 w 1054"/>
                <a:gd name="T91" fmla="*/ 144 h 536"/>
                <a:gd name="T92" fmla="*/ 87 w 1054"/>
                <a:gd name="T93" fmla="*/ 213 h 536"/>
                <a:gd name="T94" fmla="*/ 34 w 1054"/>
                <a:gd name="T95" fmla="*/ 26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54" h="536">
                  <a:moveTo>
                    <a:pt x="527" y="536"/>
                  </a:moveTo>
                  <a:lnTo>
                    <a:pt x="527" y="536"/>
                  </a:lnTo>
                  <a:lnTo>
                    <a:pt x="491" y="535"/>
                  </a:lnTo>
                  <a:lnTo>
                    <a:pt x="455" y="532"/>
                  </a:lnTo>
                  <a:lnTo>
                    <a:pt x="419" y="527"/>
                  </a:lnTo>
                  <a:lnTo>
                    <a:pt x="384" y="519"/>
                  </a:lnTo>
                  <a:lnTo>
                    <a:pt x="349" y="510"/>
                  </a:lnTo>
                  <a:lnTo>
                    <a:pt x="314" y="498"/>
                  </a:lnTo>
                  <a:lnTo>
                    <a:pt x="281" y="485"/>
                  </a:lnTo>
                  <a:lnTo>
                    <a:pt x="247" y="469"/>
                  </a:lnTo>
                  <a:lnTo>
                    <a:pt x="215" y="451"/>
                  </a:lnTo>
                  <a:lnTo>
                    <a:pt x="183" y="433"/>
                  </a:lnTo>
                  <a:lnTo>
                    <a:pt x="151" y="412"/>
                  </a:lnTo>
                  <a:lnTo>
                    <a:pt x="121" y="388"/>
                  </a:lnTo>
                  <a:lnTo>
                    <a:pt x="91" y="363"/>
                  </a:lnTo>
                  <a:lnTo>
                    <a:pt x="62" y="336"/>
                  </a:lnTo>
                  <a:lnTo>
                    <a:pt x="34" y="307"/>
                  </a:lnTo>
                  <a:lnTo>
                    <a:pt x="8" y="276"/>
                  </a:lnTo>
                  <a:lnTo>
                    <a:pt x="0" y="268"/>
                  </a:lnTo>
                  <a:lnTo>
                    <a:pt x="8" y="259"/>
                  </a:lnTo>
                  <a:lnTo>
                    <a:pt x="8" y="259"/>
                  </a:lnTo>
                  <a:lnTo>
                    <a:pt x="34" y="229"/>
                  </a:lnTo>
                  <a:lnTo>
                    <a:pt x="62" y="201"/>
                  </a:lnTo>
                  <a:lnTo>
                    <a:pt x="91" y="174"/>
                  </a:lnTo>
                  <a:lnTo>
                    <a:pt x="121" y="149"/>
                  </a:lnTo>
                  <a:lnTo>
                    <a:pt x="151" y="125"/>
                  </a:lnTo>
                  <a:lnTo>
                    <a:pt x="183" y="104"/>
                  </a:lnTo>
                  <a:lnTo>
                    <a:pt x="215" y="85"/>
                  </a:lnTo>
                  <a:lnTo>
                    <a:pt x="247" y="67"/>
                  </a:lnTo>
                  <a:lnTo>
                    <a:pt x="281" y="52"/>
                  </a:lnTo>
                  <a:lnTo>
                    <a:pt x="314" y="39"/>
                  </a:lnTo>
                  <a:lnTo>
                    <a:pt x="349" y="27"/>
                  </a:lnTo>
                  <a:lnTo>
                    <a:pt x="384" y="18"/>
                  </a:lnTo>
                  <a:lnTo>
                    <a:pt x="419" y="10"/>
                  </a:lnTo>
                  <a:lnTo>
                    <a:pt x="455" y="4"/>
                  </a:lnTo>
                  <a:lnTo>
                    <a:pt x="491" y="2"/>
                  </a:lnTo>
                  <a:lnTo>
                    <a:pt x="527" y="0"/>
                  </a:lnTo>
                  <a:lnTo>
                    <a:pt x="527" y="0"/>
                  </a:lnTo>
                  <a:lnTo>
                    <a:pt x="564" y="2"/>
                  </a:lnTo>
                  <a:lnTo>
                    <a:pt x="600" y="4"/>
                  </a:lnTo>
                  <a:lnTo>
                    <a:pt x="636" y="10"/>
                  </a:lnTo>
                  <a:lnTo>
                    <a:pt x="670" y="18"/>
                  </a:lnTo>
                  <a:lnTo>
                    <a:pt x="706" y="27"/>
                  </a:lnTo>
                  <a:lnTo>
                    <a:pt x="741" y="39"/>
                  </a:lnTo>
                  <a:lnTo>
                    <a:pt x="774" y="52"/>
                  </a:lnTo>
                  <a:lnTo>
                    <a:pt x="807" y="67"/>
                  </a:lnTo>
                  <a:lnTo>
                    <a:pt x="841" y="85"/>
                  </a:lnTo>
                  <a:lnTo>
                    <a:pt x="872" y="104"/>
                  </a:lnTo>
                  <a:lnTo>
                    <a:pt x="904" y="125"/>
                  </a:lnTo>
                  <a:lnTo>
                    <a:pt x="935" y="149"/>
                  </a:lnTo>
                  <a:lnTo>
                    <a:pt x="964" y="174"/>
                  </a:lnTo>
                  <a:lnTo>
                    <a:pt x="993" y="201"/>
                  </a:lnTo>
                  <a:lnTo>
                    <a:pt x="1021" y="229"/>
                  </a:lnTo>
                  <a:lnTo>
                    <a:pt x="1048" y="259"/>
                  </a:lnTo>
                  <a:lnTo>
                    <a:pt x="1054" y="268"/>
                  </a:lnTo>
                  <a:lnTo>
                    <a:pt x="1048" y="276"/>
                  </a:lnTo>
                  <a:lnTo>
                    <a:pt x="1048" y="276"/>
                  </a:lnTo>
                  <a:lnTo>
                    <a:pt x="1021" y="307"/>
                  </a:lnTo>
                  <a:lnTo>
                    <a:pt x="993" y="336"/>
                  </a:lnTo>
                  <a:lnTo>
                    <a:pt x="964" y="363"/>
                  </a:lnTo>
                  <a:lnTo>
                    <a:pt x="935" y="388"/>
                  </a:lnTo>
                  <a:lnTo>
                    <a:pt x="904" y="412"/>
                  </a:lnTo>
                  <a:lnTo>
                    <a:pt x="872" y="433"/>
                  </a:lnTo>
                  <a:lnTo>
                    <a:pt x="841" y="451"/>
                  </a:lnTo>
                  <a:lnTo>
                    <a:pt x="807" y="469"/>
                  </a:lnTo>
                  <a:lnTo>
                    <a:pt x="774" y="485"/>
                  </a:lnTo>
                  <a:lnTo>
                    <a:pt x="741" y="498"/>
                  </a:lnTo>
                  <a:lnTo>
                    <a:pt x="706" y="510"/>
                  </a:lnTo>
                  <a:lnTo>
                    <a:pt x="670" y="519"/>
                  </a:lnTo>
                  <a:lnTo>
                    <a:pt x="636" y="527"/>
                  </a:lnTo>
                  <a:lnTo>
                    <a:pt x="600" y="532"/>
                  </a:lnTo>
                  <a:lnTo>
                    <a:pt x="564" y="535"/>
                  </a:lnTo>
                  <a:lnTo>
                    <a:pt x="527" y="536"/>
                  </a:lnTo>
                  <a:lnTo>
                    <a:pt x="527" y="536"/>
                  </a:lnTo>
                  <a:close/>
                  <a:moveTo>
                    <a:pt x="34" y="268"/>
                  </a:moveTo>
                  <a:lnTo>
                    <a:pt x="34" y="268"/>
                  </a:lnTo>
                  <a:lnTo>
                    <a:pt x="61" y="296"/>
                  </a:lnTo>
                  <a:lnTo>
                    <a:pt x="87" y="323"/>
                  </a:lnTo>
                  <a:lnTo>
                    <a:pt x="115" y="348"/>
                  </a:lnTo>
                  <a:lnTo>
                    <a:pt x="143" y="372"/>
                  </a:lnTo>
                  <a:lnTo>
                    <a:pt x="172" y="393"/>
                  </a:lnTo>
                  <a:lnTo>
                    <a:pt x="202" y="413"/>
                  </a:lnTo>
                  <a:lnTo>
                    <a:pt x="232" y="431"/>
                  </a:lnTo>
                  <a:lnTo>
                    <a:pt x="263" y="447"/>
                  </a:lnTo>
                  <a:lnTo>
                    <a:pt x="295" y="462"/>
                  </a:lnTo>
                  <a:lnTo>
                    <a:pt x="326" y="474"/>
                  </a:lnTo>
                  <a:lnTo>
                    <a:pt x="360" y="485"/>
                  </a:lnTo>
                  <a:lnTo>
                    <a:pt x="393" y="494"/>
                  </a:lnTo>
                  <a:lnTo>
                    <a:pt x="426" y="500"/>
                  </a:lnTo>
                  <a:lnTo>
                    <a:pt x="459" y="506"/>
                  </a:lnTo>
                  <a:lnTo>
                    <a:pt x="494" y="508"/>
                  </a:lnTo>
                  <a:lnTo>
                    <a:pt x="527" y="510"/>
                  </a:lnTo>
                  <a:lnTo>
                    <a:pt x="527" y="510"/>
                  </a:lnTo>
                  <a:lnTo>
                    <a:pt x="562" y="508"/>
                  </a:lnTo>
                  <a:lnTo>
                    <a:pt x="596" y="506"/>
                  </a:lnTo>
                  <a:lnTo>
                    <a:pt x="629" y="500"/>
                  </a:lnTo>
                  <a:lnTo>
                    <a:pt x="663" y="494"/>
                  </a:lnTo>
                  <a:lnTo>
                    <a:pt x="696" y="485"/>
                  </a:lnTo>
                  <a:lnTo>
                    <a:pt x="729" y="474"/>
                  </a:lnTo>
                  <a:lnTo>
                    <a:pt x="761" y="462"/>
                  </a:lnTo>
                  <a:lnTo>
                    <a:pt x="791" y="447"/>
                  </a:lnTo>
                  <a:lnTo>
                    <a:pt x="823" y="431"/>
                  </a:lnTo>
                  <a:lnTo>
                    <a:pt x="854" y="413"/>
                  </a:lnTo>
                  <a:lnTo>
                    <a:pt x="883" y="393"/>
                  </a:lnTo>
                  <a:lnTo>
                    <a:pt x="912" y="372"/>
                  </a:lnTo>
                  <a:lnTo>
                    <a:pt x="940" y="348"/>
                  </a:lnTo>
                  <a:lnTo>
                    <a:pt x="968" y="323"/>
                  </a:lnTo>
                  <a:lnTo>
                    <a:pt x="995" y="296"/>
                  </a:lnTo>
                  <a:lnTo>
                    <a:pt x="1020" y="268"/>
                  </a:lnTo>
                  <a:lnTo>
                    <a:pt x="1020" y="268"/>
                  </a:lnTo>
                  <a:lnTo>
                    <a:pt x="995" y="239"/>
                  </a:lnTo>
                  <a:lnTo>
                    <a:pt x="968" y="213"/>
                  </a:lnTo>
                  <a:lnTo>
                    <a:pt x="940" y="187"/>
                  </a:lnTo>
                  <a:lnTo>
                    <a:pt x="912" y="165"/>
                  </a:lnTo>
                  <a:lnTo>
                    <a:pt x="883" y="144"/>
                  </a:lnTo>
                  <a:lnTo>
                    <a:pt x="854" y="124"/>
                  </a:lnTo>
                  <a:lnTo>
                    <a:pt x="823" y="105"/>
                  </a:lnTo>
                  <a:lnTo>
                    <a:pt x="791" y="89"/>
                  </a:lnTo>
                  <a:lnTo>
                    <a:pt x="761" y="75"/>
                  </a:lnTo>
                  <a:lnTo>
                    <a:pt x="729" y="63"/>
                  </a:lnTo>
                  <a:lnTo>
                    <a:pt x="696" y="51"/>
                  </a:lnTo>
                  <a:lnTo>
                    <a:pt x="663" y="43"/>
                  </a:lnTo>
                  <a:lnTo>
                    <a:pt x="629" y="36"/>
                  </a:lnTo>
                  <a:lnTo>
                    <a:pt x="596" y="31"/>
                  </a:lnTo>
                  <a:lnTo>
                    <a:pt x="562" y="28"/>
                  </a:lnTo>
                  <a:lnTo>
                    <a:pt x="527" y="27"/>
                  </a:lnTo>
                  <a:lnTo>
                    <a:pt x="527" y="27"/>
                  </a:lnTo>
                  <a:lnTo>
                    <a:pt x="494" y="28"/>
                  </a:lnTo>
                  <a:lnTo>
                    <a:pt x="459" y="31"/>
                  </a:lnTo>
                  <a:lnTo>
                    <a:pt x="426" y="36"/>
                  </a:lnTo>
                  <a:lnTo>
                    <a:pt x="393" y="43"/>
                  </a:lnTo>
                  <a:lnTo>
                    <a:pt x="360" y="51"/>
                  </a:lnTo>
                  <a:lnTo>
                    <a:pt x="326" y="63"/>
                  </a:lnTo>
                  <a:lnTo>
                    <a:pt x="295" y="75"/>
                  </a:lnTo>
                  <a:lnTo>
                    <a:pt x="263" y="89"/>
                  </a:lnTo>
                  <a:lnTo>
                    <a:pt x="232" y="105"/>
                  </a:lnTo>
                  <a:lnTo>
                    <a:pt x="202" y="124"/>
                  </a:lnTo>
                  <a:lnTo>
                    <a:pt x="172" y="144"/>
                  </a:lnTo>
                  <a:lnTo>
                    <a:pt x="143" y="165"/>
                  </a:lnTo>
                  <a:lnTo>
                    <a:pt x="115" y="187"/>
                  </a:lnTo>
                  <a:lnTo>
                    <a:pt x="87" y="213"/>
                  </a:lnTo>
                  <a:lnTo>
                    <a:pt x="61" y="239"/>
                  </a:lnTo>
                  <a:lnTo>
                    <a:pt x="34" y="268"/>
                  </a:lnTo>
                  <a:lnTo>
                    <a:pt x="34" y="26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51" name="Freeform 120">
              <a:extLst>
                <a:ext uri="{FF2B5EF4-FFF2-40B4-BE49-F238E27FC236}">
                  <a16:creationId xmlns:a16="http://schemas.microsoft.com/office/drawing/2014/main" id="{1A75D853-7658-4CA5-BB72-BAC353A870E5}"/>
                </a:ext>
              </a:extLst>
            </p:cNvPr>
            <p:cNvSpPr>
              <a:spLocks/>
            </p:cNvSpPr>
            <p:nvPr/>
          </p:nvSpPr>
          <p:spPr bwMode="auto">
            <a:xfrm>
              <a:off x="8737601" y="3359150"/>
              <a:ext cx="269875" cy="269875"/>
            </a:xfrm>
            <a:custGeom>
              <a:avLst/>
              <a:gdLst>
                <a:gd name="T0" fmla="*/ 170 w 340"/>
                <a:gd name="T1" fmla="*/ 0 h 339"/>
                <a:gd name="T2" fmla="*/ 135 w 340"/>
                <a:gd name="T3" fmla="*/ 3 h 339"/>
                <a:gd name="T4" fmla="*/ 104 w 340"/>
                <a:gd name="T5" fmla="*/ 13 h 339"/>
                <a:gd name="T6" fmla="*/ 74 w 340"/>
                <a:gd name="T7" fmla="*/ 28 h 339"/>
                <a:gd name="T8" fmla="*/ 50 w 340"/>
                <a:gd name="T9" fmla="*/ 49 h 339"/>
                <a:gd name="T10" fmla="*/ 29 w 340"/>
                <a:gd name="T11" fmla="*/ 74 h 339"/>
                <a:gd name="T12" fmla="*/ 13 w 340"/>
                <a:gd name="T13" fmla="*/ 103 h 339"/>
                <a:gd name="T14" fmla="*/ 4 w 340"/>
                <a:gd name="T15" fmla="*/ 135 h 339"/>
                <a:gd name="T16" fmla="*/ 0 w 340"/>
                <a:gd name="T17" fmla="*/ 170 h 339"/>
                <a:gd name="T18" fmla="*/ 1 w 340"/>
                <a:gd name="T19" fmla="*/ 187 h 339"/>
                <a:gd name="T20" fmla="*/ 8 w 340"/>
                <a:gd name="T21" fmla="*/ 220 h 339"/>
                <a:gd name="T22" fmla="*/ 20 w 340"/>
                <a:gd name="T23" fmla="*/ 251 h 339"/>
                <a:gd name="T24" fmla="*/ 38 w 340"/>
                <a:gd name="T25" fmla="*/ 277 h 339"/>
                <a:gd name="T26" fmla="*/ 62 w 340"/>
                <a:gd name="T27" fmla="*/ 300 h 339"/>
                <a:gd name="T28" fmla="*/ 89 w 340"/>
                <a:gd name="T29" fmla="*/ 318 h 339"/>
                <a:gd name="T30" fmla="*/ 120 w 340"/>
                <a:gd name="T31" fmla="*/ 331 h 339"/>
                <a:gd name="T32" fmla="*/ 153 w 340"/>
                <a:gd name="T33" fmla="*/ 338 h 339"/>
                <a:gd name="T34" fmla="*/ 170 w 340"/>
                <a:gd name="T35" fmla="*/ 339 h 339"/>
                <a:gd name="T36" fmla="*/ 205 w 340"/>
                <a:gd name="T37" fmla="*/ 335 h 339"/>
                <a:gd name="T38" fmla="*/ 236 w 340"/>
                <a:gd name="T39" fmla="*/ 326 h 339"/>
                <a:gd name="T40" fmla="*/ 266 w 340"/>
                <a:gd name="T41" fmla="*/ 310 h 339"/>
                <a:gd name="T42" fmla="*/ 291 w 340"/>
                <a:gd name="T43" fmla="*/ 289 h 339"/>
                <a:gd name="T44" fmla="*/ 311 w 340"/>
                <a:gd name="T45" fmla="*/ 264 h 339"/>
                <a:gd name="T46" fmla="*/ 327 w 340"/>
                <a:gd name="T47" fmla="*/ 235 h 339"/>
                <a:gd name="T48" fmla="*/ 336 w 340"/>
                <a:gd name="T49" fmla="*/ 203 h 339"/>
                <a:gd name="T50" fmla="*/ 340 w 340"/>
                <a:gd name="T51" fmla="*/ 170 h 339"/>
                <a:gd name="T52" fmla="*/ 339 w 340"/>
                <a:gd name="T53" fmla="*/ 151 h 339"/>
                <a:gd name="T54" fmla="*/ 332 w 340"/>
                <a:gd name="T55" fmla="*/ 118 h 339"/>
                <a:gd name="T56" fmla="*/ 320 w 340"/>
                <a:gd name="T57" fmla="*/ 89 h 339"/>
                <a:gd name="T58" fmla="*/ 302 w 340"/>
                <a:gd name="T59" fmla="*/ 61 h 339"/>
                <a:gd name="T60" fmla="*/ 278 w 340"/>
                <a:gd name="T61" fmla="*/ 38 h 339"/>
                <a:gd name="T62" fmla="*/ 251 w 340"/>
                <a:gd name="T63" fmla="*/ 20 h 339"/>
                <a:gd name="T64" fmla="*/ 220 w 340"/>
                <a:gd name="T65" fmla="*/ 6 h 339"/>
                <a:gd name="T66" fmla="*/ 187 w 340"/>
                <a:gd name="T67" fmla="*/ 0 h 339"/>
                <a:gd name="T68" fmla="*/ 170 w 340"/>
                <a:gd name="T6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0" h="339">
                  <a:moveTo>
                    <a:pt x="170" y="0"/>
                  </a:moveTo>
                  <a:lnTo>
                    <a:pt x="170" y="0"/>
                  </a:lnTo>
                  <a:lnTo>
                    <a:pt x="153" y="0"/>
                  </a:lnTo>
                  <a:lnTo>
                    <a:pt x="135" y="3"/>
                  </a:lnTo>
                  <a:lnTo>
                    <a:pt x="120" y="6"/>
                  </a:lnTo>
                  <a:lnTo>
                    <a:pt x="104" y="13"/>
                  </a:lnTo>
                  <a:lnTo>
                    <a:pt x="89" y="20"/>
                  </a:lnTo>
                  <a:lnTo>
                    <a:pt x="74" y="28"/>
                  </a:lnTo>
                  <a:lnTo>
                    <a:pt x="62" y="38"/>
                  </a:lnTo>
                  <a:lnTo>
                    <a:pt x="50" y="49"/>
                  </a:lnTo>
                  <a:lnTo>
                    <a:pt x="38" y="61"/>
                  </a:lnTo>
                  <a:lnTo>
                    <a:pt x="29" y="74"/>
                  </a:lnTo>
                  <a:lnTo>
                    <a:pt x="20" y="89"/>
                  </a:lnTo>
                  <a:lnTo>
                    <a:pt x="13" y="103"/>
                  </a:lnTo>
                  <a:lnTo>
                    <a:pt x="8" y="118"/>
                  </a:lnTo>
                  <a:lnTo>
                    <a:pt x="4" y="135"/>
                  </a:lnTo>
                  <a:lnTo>
                    <a:pt x="1" y="151"/>
                  </a:lnTo>
                  <a:lnTo>
                    <a:pt x="0" y="170"/>
                  </a:lnTo>
                  <a:lnTo>
                    <a:pt x="0" y="170"/>
                  </a:lnTo>
                  <a:lnTo>
                    <a:pt x="1" y="187"/>
                  </a:lnTo>
                  <a:lnTo>
                    <a:pt x="4" y="203"/>
                  </a:lnTo>
                  <a:lnTo>
                    <a:pt x="8" y="220"/>
                  </a:lnTo>
                  <a:lnTo>
                    <a:pt x="13" y="235"/>
                  </a:lnTo>
                  <a:lnTo>
                    <a:pt x="20" y="251"/>
                  </a:lnTo>
                  <a:lnTo>
                    <a:pt x="29" y="264"/>
                  </a:lnTo>
                  <a:lnTo>
                    <a:pt x="38" y="277"/>
                  </a:lnTo>
                  <a:lnTo>
                    <a:pt x="50" y="289"/>
                  </a:lnTo>
                  <a:lnTo>
                    <a:pt x="62" y="300"/>
                  </a:lnTo>
                  <a:lnTo>
                    <a:pt x="74" y="310"/>
                  </a:lnTo>
                  <a:lnTo>
                    <a:pt x="89" y="318"/>
                  </a:lnTo>
                  <a:lnTo>
                    <a:pt x="104" y="326"/>
                  </a:lnTo>
                  <a:lnTo>
                    <a:pt x="120" y="331"/>
                  </a:lnTo>
                  <a:lnTo>
                    <a:pt x="135" y="335"/>
                  </a:lnTo>
                  <a:lnTo>
                    <a:pt x="153" y="338"/>
                  </a:lnTo>
                  <a:lnTo>
                    <a:pt x="170" y="339"/>
                  </a:lnTo>
                  <a:lnTo>
                    <a:pt x="170" y="339"/>
                  </a:lnTo>
                  <a:lnTo>
                    <a:pt x="187" y="338"/>
                  </a:lnTo>
                  <a:lnTo>
                    <a:pt x="205" y="335"/>
                  </a:lnTo>
                  <a:lnTo>
                    <a:pt x="220" y="331"/>
                  </a:lnTo>
                  <a:lnTo>
                    <a:pt x="236" y="326"/>
                  </a:lnTo>
                  <a:lnTo>
                    <a:pt x="251" y="318"/>
                  </a:lnTo>
                  <a:lnTo>
                    <a:pt x="266" y="310"/>
                  </a:lnTo>
                  <a:lnTo>
                    <a:pt x="278" y="300"/>
                  </a:lnTo>
                  <a:lnTo>
                    <a:pt x="291" y="289"/>
                  </a:lnTo>
                  <a:lnTo>
                    <a:pt x="302" y="277"/>
                  </a:lnTo>
                  <a:lnTo>
                    <a:pt x="311" y="264"/>
                  </a:lnTo>
                  <a:lnTo>
                    <a:pt x="320" y="251"/>
                  </a:lnTo>
                  <a:lnTo>
                    <a:pt x="327" y="235"/>
                  </a:lnTo>
                  <a:lnTo>
                    <a:pt x="332" y="220"/>
                  </a:lnTo>
                  <a:lnTo>
                    <a:pt x="336" y="203"/>
                  </a:lnTo>
                  <a:lnTo>
                    <a:pt x="339" y="187"/>
                  </a:lnTo>
                  <a:lnTo>
                    <a:pt x="340" y="170"/>
                  </a:lnTo>
                  <a:lnTo>
                    <a:pt x="340" y="170"/>
                  </a:lnTo>
                  <a:lnTo>
                    <a:pt x="339" y="151"/>
                  </a:lnTo>
                  <a:lnTo>
                    <a:pt x="336" y="135"/>
                  </a:lnTo>
                  <a:lnTo>
                    <a:pt x="332" y="118"/>
                  </a:lnTo>
                  <a:lnTo>
                    <a:pt x="327" y="103"/>
                  </a:lnTo>
                  <a:lnTo>
                    <a:pt x="320" y="89"/>
                  </a:lnTo>
                  <a:lnTo>
                    <a:pt x="311" y="74"/>
                  </a:lnTo>
                  <a:lnTo>
                    <a:pt x="302" y="61"/>
                  </a:lnTo>
                  <a:lnTo>
                    <a:pt x="291" y="49"/>
                  </a:lnTo>
                  <a:lnTo>
                    <a:pt x="278" y="38"/>
                  </a:lnTo>
                  <a:lnTo>
                    <a:pt x="266" y="28"/>
                  </a:lnTo>
                  <a:lnTo>
                    <a:pt x="251" y="20"/>
                  </a:lnTo>
                  <a:lnTo>
                    <a:pt x="236" y="13"/>
                  </a:lnTo>
                  <a:lnTo>
                    <a:pt x="220" y="6"/>
                  </a:lnTo>
                  <a:lnTo>
                    <a:pt x="205" y="3"/>
                  </a:lnTo>
                  <a:lnTo>
                    <a:pt x="187" y="0"/>
                  </a:lnTo>
                  <a:lnTo>
                    <a:pt x="170" y="0"/>
                  </a:lnTo>
                  <a:lnTo>
                    <a:pt x="17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sp>
          <p:nvSpPr>
            <p:cNvPr id="52" name="Freeform 121">
              <a:extLst>
                <a:ext uri="{FF2B5EF4-FFF2-40B4-BE49-F238E27FC236}">
                  <a16:creationId xmlns:a16="http://schemas.microsoft.com/office/drawing/2014/main" id="{E0D9C53F-2B2D-430C-98D2-4CA89029B64D}"/>
                </a:ext>
              </a:extLst>
            </p:cNvPr>
            <p:cNvSpPr>
              <a:spLocks noEditPoints="1"/>
            </p:cNvSpPr>
            <p:nvPr/>
          </p:nvSpPr>
          <p:spPr bwMode="gray">
            <a:xfrm>
              <a:off x="8794751" y="3416300"/>
              <a:ext cx="155575" cy="155575"/>
            </a:xfrm>
            <a:custGeom>
              <a:avLst/>
              <a:gdLst>
                <a:gd name="T0" fmla="*/ 98 w 196"/>
                <a:gd name="T1" fmla="*/ 197 h 197"/>
                <a:gd name="T2" fmla="*/ 78 w 196"/>
                <a:gd name="T3" fmla="*/ 194 h 197"/>
                <a:gd name="T4" fmla="*/ 59 w 196"/>
                <a:gd name="T5" fmla="*/ 189 h 197"/>
                <a:gd name="T6" fmla="*/ 44 w 196"/>
                <a:gd name="T7" fmla="*/ 180 h 197"/>
                <a:gd name="T8" fmla="*/ 29 w 196"/>
                <a:gd name="T9" fmla="*/ 168 h 197"/>
                <a:gd name="T10" fmla="*/ 17 w 196"/>
                <a:gd name="T11" fmla="*/ 153 h 197"/>
                <a:gd name="T12" fmla="*/ 8 w 196"/>
                <a:gd name="T13" fmla="*/ 136 h 197"/>
                <a:gd name="T14" fmla="*/ 2 w 196"/>
                <a:gd name="T15" fmla="*/ 117 h 197"/>
                <a:gd name="T16" fmla="*/ 0 w 196"/>
                <a:gd name="T17" fmla="*/ 99 h 197"/>
                <a:gd name="T18" fmla="*/ 0 w 196"/>
                <a:gd name="T19" fmla="*/ 88 h 197"/>
                <a:gd name="T20" fmla="*/ 4 w 196"/>
                <a:gd name="T21" fmla="*/ 69 h 197"/>
                <a:gd name="T22" fmla="*/ 12 w 196"/>
                <a:gd name="T23" fmla="*/ 51 h 197"/>
                <a:gd name="T24" fmla="*/ 22 w 196"/>
                <a:gd name="T25" fmla="*/ 36 h 197"/>
                <a:gd name="T26" fmla="*/ 36 w 196"/>
                <a:gd name="T27" fmla="*/ 22 h 197"/>
                <a:gd name="T28" fmla="*/ 52 w 196"/>
                <a:gd name="T29" fmla="*/ 12 h 197"/>
                <a:gd name="T30" fmla="*/ 69 w 196"/>
                <a:gd name="T31" fmla="*/ 4 h 197"/>
                <a:gd name="T32" fmla="*/ 87 w 196"/>
                <a:gd name="T33" fmla="*/ 0 h 197"/>
                <a:gd name="T34" fmla="*/ 98 w 196"/>
                <a:gd name="T35" fmla="*/ 0 h 197"/>
                <a:gd name="T36" fmla="*/ 118 w 196"/>
                <a:gd name="T37" fmla="*/ 2 h 197"/>
                <a:gd name="T38" fmla="*/ 137 w 196"/>
                <a:gd name="T39" fmla="*/ 7 h 197"/>
                <a:gd name="T40" fmla="*/ 152 w 196"/>
                <a:gd name="T41" fmla="*/ 16 h 197"/>
                <a:gd name="T42" fmla="*/ 167 w 196"/>
                <a:gd name="T43" fmla="*/ 28 h 197"/>
                <a:gd name="T44" fmla="*/ 179 w 196"/>
                <a:gd name="T45" fmla="*/ 43 h 197"/>
                <a:gd name="T46" fmla="*/ 188 w 196"/>
                <a:gd name="T47" fmla="*/ 60 h 197"/>
                <a:gd name="T48" fmla="*/ 195 w 196"/>
                <a:gd name="T49" fmla="*/ 79 h 197"/>
                <a:gd name="T50" fmla="*/ 196 w 196"/>
                <a:gd name="T51" fmla="*/ 99 h 197"/>
                <a:gd name="T52" fmla="*/ 196 w 196"/>
                <a:gd name="T53" fmla="*/ 108 h 197"/>
                <a:gd name="T54" fmla="*/ 192 w 196"/>
                <a:gd name="T55" fmla="*/ 128 h 197"/>
                <a:gd name="T56" fmla="*/ 184 w 196"/>
                <a:gd name="T57" fmla="*/ 145 h 197"/>
                <a:gd name="T58" fmla="*/ 174 w 196"/>
                <a:gd name="T59" fmla="*/ 161 h 197"/>
                <a:gd name="T60" fmla="*/ 160 w 196"/>
                <a:gd name="T61" fmla="*/ 174 h 197"/>
                <a:gd name="T62" fmla="*/ 144 w 196"/>
                <a:gd name="T63" fmla="*/ 185 h 197"/>
                <a:gd name="T64" fmla="*/ 127 w 196"/>
                <a:gd name="T65" fmla="*/ 192 h 197"/>
                <a:gd name="T66" fmla="*/ 109 w 196"/>
                <a:gd name="T67" fmla="*/ 195 h 197"/>
                <a:gd name="T68" fmla="*/ 98 w 196"/>
                <a:gd name="T69" fmla="*/ 197 h 197"/>
                <a:gd name="T70" fmla="*/ 98 w 196"/>
                <a:gd name="T71" fmla="*/ 27 h 197"/>
                <a:gd name="T72" fmla="*/ 70 w 196"/>
                <a:gd name="T73" fmla="*/ 32 h 197"/>
                <a:gd name="T74" fmla="*/ 48 w 196"/>
                <a:gd name="T75" fmla="*/ 47 h 197"/>
                <a:gd name="T76" fmla="*/ 32 w 196"/>
                <a:gd name="T77" fmla="*/ 71 h 197"/>
                <a:gd name="T78" fmla="*/ 26 w 196"/>
                <a:gd name="T79" fmla="*/ 99 h 197"/>
                <a:gd name="T80" fmla="*/ 28 w 196"/>
                <a:gd name="T81" fmla="*/ 112 h 197"/>
                <a:gd name="T82" fmla="*/ 38 w 196"/>
                <a:gd name="T83" fmla="*/ 138 h 197"/>
                <a:gd name="T84" fmla="*/ 58 w 196"/>
                <a:gd name="T85" fmla="*/ 157 h 197"/>
                <a:gd name="T86" fmla="*/ 83 w 196"/>
                <a:gd name="T87" fmla="*/ 168 h 197"/>
                <a:gd name="T88" fmla="*/ 98 w 196"/>
                <a:gd name="T89" fmla="*/ 170 h 197"/>
                <a:gd name="T90" fmla="*/ 126 w 196"/>
                <a:gd name="T91" fmla="*/ 164 h 197"/>
                <a:gd name="T92" fmla="*/ 148 w 196"/>
                <a:gd name="T93" fmla="*/ 149 h 197"/>
                <a:gd name="T94" fmla="*/ 164 w 196"/>
                <a:gd name="T95" fmla="*/ 127 h 197"/>
                <a:gd name="T96" fmla="*/ 170 w 196"/>
                <a:gd name="T97" fmla="*/ 99 h 197"/>
                <a:gd name="T98" fmla="*/ 168 w 196"/>
                <a:gd name="T99" fmla="*/ 84 h 197"/>
                <a:gd name="T100" fmla="*/ 158 w 196"/>
                <a:gd name="T101" fmla="*/ 58 h 197"/>
                <a:gd name="T102" fmla="*/ 138 w 196"/>
                <a:gd name="T103" fmla="*/ 39 h 197"/>
                <a:gd name="T104" fmla="*/ 113 w 196"/>
                <a:gd name="T105" fmla="*/ 28 h 197"/>
                <a:gd name="T106" fmla="*/ 98 w 196"/>
                <a:gd name="T107"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6" h="197">
                  <a:moveTo>
                    <a:pt x="98" y="197"/>
                  </a:moveTo>
                  <a:lnTo>
                    <a:pt x="98" y="197"/>
                  </a:lnTo>
                  <a:lnTo>
                    <a:pt x="87" y="195"/>
                  </a:lnTo>
                  <a:lnTo>
                    <a:pt x="78" y="194"/>
                  </a:lnTo>
                  <a:lnTo>
                    <a:pt x="69" y="192"/>
                  </a:lnTo>
                  <a:lnTo>
                    <a:pt x="59" y="189"/>
                  </a:lnTo>
                  <a:lnTo>
                    <a:pt x="52" y="185"/>
                  </a:lnTo>
                  <a:lnTo>
                    <a:pt x="44" y="180"/>
                  </a:lnTo>
                  <a:lnTo>
                    <a:pt x="36" y="174"/>
                  </a:lnTo>
                  <a:lnTo>
                    <a:pt x="29" y="168"/>
                  </a:lnTo>
                  <a:lnTo>
                    <a:pt x="22" y="161"/>
                  </a:lnTo>
                  <a:lnTo>
                    <a:pt x="17" y="153"/>
                  </a:lnTo>
                  <a:lnTo>
                    <a:pt x="12" y="145"/>
                  </a:lnTo>
                  <a:lnTo>
                    <a:pt x="8" y="136"/>
                  </a:lnTo>
                  <a:lnTo>
                    <a:pt x="4" y="128"/>
                  </a:lnTo>
                  <a:lnTo>
                    <a:pt x="2" y="117"/>
                  </a:lnTo>
                  <a:lnTo>
                    <a:pt x="0" y="108"/>
                  </a:lnTo>
                  <a:lnTo>
                    <a:pt x="0" y="99"/>
                  </a:lnTo>
                  <a:lnTo>
                    <a:pt x="0" y="99"/>
                  </a:lnTo>
                  <a:lnTo>
                    <a:pt x="0" y="88"/>
                  </a:lnTo>
                  <a:lnTo>
                    <a:pt x="2" y="79"/>
                  </a:lnTo>
                  <a:lnTo>
                    <a:pt x="4" y="69"/>
                  </a:lnTo>
                  <a:lnTo>
                    <a:pt x="8" y="60"/>
                  </a:lnTo>
                  <a:lnTo>
                    <a:pt x="12" y="51"/>
                  </a:lnTo>
                  <a:lnTo>
                    <a:pt x="17" y="43"/>
                  </a:lnTo>
                  <a:lnTo>
                    <a:pt x="22" y="36"/>
                  </a:lnTo>
                  <a:lnTo>
                    <a:pt x="29" y="28"/>
                  </a:lnTo>
                  <a:lnTo>
                    <a:pt x="36" y="22"/>
                  </a:lnTo>
                  <a:lnTo>
                    <a:pt x="44" y="16"/>
                  </a:lnTo>
                  <a:lnTo>
                    <a:pt x="52" y="12"/>
                  </a:lnTo>
                  <a:lnTo>
                    <a:pt x="59" y="7"/>
                  </a:lnTo>
                  <a:lnTo>
                    <a:pt x="69" y="4"/>
                  </a:lnTo>
                  <a:lnTo>
                    <a:pt x="78" y="2"/>
                  </a:lnTo>
                  <a:lnTo>
                    <a:pt x="87" y="0"/>
                  </a:lnTo>
                  <a:lnTo>
                    <a:pt x="98" y="0"/>
                  </a:lnTo>
                  <a:lnTo>
                    <a:pt x="98" y="0"/>
                  </a:lnTo>
                  <a:lnTo>
                    <a:pt x="109" y="0"/>
                  </a:lnTo>
                  <a:lnTo>
                    <a:pt x="118" y="2"/>
                  </a:lnTo>
                  <a:lnTo>
                    <a:pt x="127" y="4"/>
                  </a:lnTo>
                  <a:lnTo>
                    <a:pt x="137" y="7"/>
                  </a:lnTo>
                  <a:lnTo>
                    <a:pt x="144" y="12"/>
                  </a:lnTo>
                  <a:lnTo>
                    <a:pt x="152" y="16"/>
                  </a:lnTo>
                  <a:lnTo>
                    <a:pt x="160" y="22"/>
                  </a:lnTo>
                  <a:lnTo>
                    <a:pt x="167" y="28"/>
                  </a:lnTo>
                  <a:lnTo>
                    <a:pt x="174" y="36"/>
                  </a:lnTo>
                  <a:lnTo>
                    <a:pt x="179" y="43"/>
                  </a:lnTo>
                  <a:lnTo>
                    <a:pt x="184" y="51"/>
                  </a:lnTo>
                  <a:lnTo>
                    <a:pt x="188" y="60"/>
                  </a:lnTo>
                  <a:lnTo>
                    <a:pt x="192" y="69"/>
                  </a:lnTo>
                  <a:lnTo>
                    <a:pt x="195" y="79"/>
                  </a:lnTo>
                  <a:lnTo>
                    <a:pt x="196" y="88"/>
                  </a:lnTo>
                  <a:lnTo>
                    <a:pt x="196" y="99"/>
                  </a:lnTo>
                  <a:lnTo>
                    <a:pt x="196" y="99"/>
                  </a:lnTo>
                  <a:lnTo>
                    <a:pt x="196" y="108"/>
                  </a:lnTo>
                  <a:lnTo>
                    <a:pt x="195" y="117"/>
                  </a:lnTo>
                  <a:lnTo>
                    <a:pt x="192" y="128"/>
                  </a:lnTo>
                  <a:lnTo>
                    <a:pt x="188" y="136"/>
                  </a:lnTo>
                  <a:lnTo>
                    <a:pt x="184" y="145"/>
                  </a:lnTo>
                  <a:lnTo>
                    <a:pt x="179" y="153"/>
                  </a:lnTo>
                  <a:lnTo>
                    <a:pt x="174" y="161"/>
                  </a:lnTo>
                  <a:lnTo>
                    <a:pt x="167" y="168"/>
                  </a:lnTo>
                  <a:lnTo>
                    <a:pt x="160" y="174"/>
                  </a:lnTo>
                  <a:lnTo>
                    <a:pt x="152" y="180"/>
                  </a:lnTo>
                  <a:lnTo>
                    <a:pt x="144" y="185"/>
                  </a:lnTo>
                  <a:lnTo>
                    <a:pt x="137" y="189"/>
                  </a:lnTo>
                  <a:lnTo>
                    <a:pt x="127" y="192"/>
                  </a:lnTo>
                  <a:lnTo>
                    <a:pt x="118" y="194"/>
                  </a:lnTo>
                  <a:lnTo>
                    <a:pt x="109" y="195"/>
                  </a:lnTo>
                  <a:lnTo>
                    <a:pt x="98" y="197"/>
                  </a:lnTo>
                  <a:lnTo>
                    <a:pt x="98" y="197"/>
                  </a:lnTo>
                  <a:close/>
                  <a:moveTo>
                    <a:pt x="98" y="27"/>
                  </a:moveTo>
                  <a:lnTo>
                    <a:pt x="98" y="27"/>
                  </a:lnTo>
                  <a:lnTo>
                    <a:pt x="83" y="28"/>
                  </a:lnTo>
                  <a:lnTo>
                    <a:pt x="70" y="32"/>
                  </a:lnTo>
                  <a:lnTo>
                    <a:pt x="58" y="39"/>
                  </a:lnTo>
                  <a:lnTo>
                    <a:pt x="48" y="47"/>
                  </a:lnTo>
                  <a:lnTo>
                    <a:pt x="38" y="58"/>
                  </a:lnTo>
                  <a:lnTo>
                    <a:pt x="32" y="71"/>
                  </a:lnTo>
                  <a:lnTo>
                    <a:pt x="28" y="84"/>
                  </a:lnTo>
                  <a:lnTo>
                    <a:pt x="26" y="99"/>
                  </a:lnTo>
                  <a:lnTo>
                    <a:pt x="26" y="99"/>
                  </a:lnTo>
                  <a:lnTo>
                    <a:pt x="28" y="112"/>
                  </a:lnTo>
                  <a:lnTo>
                    <a:pt x="32" y="127"/>
                  </a:lnTo>
                  <a:lnTo>
                    <a:pt x="38" y="138"/>
                  </a:lnTo>
                  <a:lnTo>
                    <a:pt x="48" y="149"/>
                  </a:lnTo>
                  <a:lnTo>
                    <a:pt x="58" y="157"/>
                  </a:lnTo>
                  <a:lnTo>
                    <a:pt x="70" y="164"/>
                  </a:lnTo>
                  <a:lnTo>
                    <a:pt x="83" y="168"/>
                  </a:lnTo>
                  <a:lnTo>
                    <a:pt x="98" y="170"/>
                  </a:lnTo>
                  <a:lnTo>
                    <a:pt x="98" y="170"/>
                  </a:lnTo>
                  <a:lnTo>
                    <a:pt x="113" y="168"/>
                  </a:lnTo>
                  <a:lnTo>
                    <a:pt x="126" y="164"/>
                  </a:lnTo>
                  <a:lnTo>
                    <a:pt x="138" y="157"/>
                  </a:lnTo>
                  <a:lnTo>
                    <a:pt x="148" y="149"/>
                  </a:lnTo>
                  <a:lnTo>
                    <a:pt x="158" y="138"/>
                  </a:lnTo>
                  <a:lnTo>
                    <a:pt x="164" y="127"/>
                  </a:lnTo>
                  <a:lnTo>
                    <a:pt x="168" y="112"/>
                  </a:lnTo>
                  <a:lnTo>
                    <a:pt x="170" y="99"/>
                  </a:lnTo>
                  <a:lnTo>
                    <a:pt x="170" y="99"/>
                  </a:lnTo>
                  <a:lnTo>
                    <a:pt x="168" y="84"/>
                  </a:lnTo>
                  <a:lnTo>
                    <a:pt x="164" y="71"/>
                  </a:lnTo>
                  <a:lnTo>
                    <a:pt x="158" y="58"/>
                  </a:lnTo>
                  <a:lnTo>
                    <a:pt x="148" y="47"/>
                  </a:lnTo>
                  <a:lnTo>
                    <a:pt x="138" y="39"/>
                  </a:lnTo>
                  <a:lnTo>
                    <a:pt x="126" y="32"/>
                  </a:lnTo>
                  <a:lnTo>
                    <a:pt x="113" y="28"/>
                  </a:lnTo>
                  <a:lnTo>
                    <a:pt x="98" y="27"/>
                  </a:lnTo>
                  <a:lnTo>
                    <a:pt x="98"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DB Office" pitchFamily="34" charset="0"/>
                <a:ea typeface="+mn-ea"/>
                <a:cs typeface="+mn-cs"/>
              </a:endParaRPr>
            </a:p>
          </p:txBody>
        </p:sp>
      </p:grpSp>
      <p:sp>
        <p:nvSpPr>
          <p:cNvPr id="53" name="Oval 30">
            <a:extLst>
              <a:ext uri="{FF2B5EF4-FFF2-40B4-BE49-F238E27FC236}">
                <a16:creationId xmlns:a16="http://schemas.microsoft.com/office/drawing/2014/main" id="{99551F0B-1B14-4197-BF74-8196181C1A2B}"/>
              </a:ext>
            </a:extLst>
          </p:cNvPr>
          <p:cNvSpPr/>
          <p:nvPr/>
        </p:nvSpPr>
        <p:spPr bwMode="gray">
          <a:xfrm>
            <a:off x="2017941" y="1433333"/>
            <a:ext cx="720000" cy="7200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ts val="100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B Office"/>
              <a:ea typeface="+mn-ea"/>
              <a:cs typeface="+mn-cs"/>
            </a:endParaRPr>
          </a:p>
        </p:txBody>
      </p:sp>
      <p:grpSp>
        <p:nvGrpSpPr>
          <p:cNvPr id="54" name="easyIcon">
            <a:extLst>
              <a:ext uri="{FF2B5EF4-FFF2-40B4-BE49-F238E27FC236}">
                <a16:creationId xmlns:a16="http://schemas.microsoft.com/office/drawing/2014/main" id="{E3F8E99B-2B07-4EE5-B33D-E54A101078BA}"/>
              </a:ext>
            </a:extLst>
          </p:cNvPr>
          <p:cNvGrpSpPr>
            <a:grpSpLocks noChangeAspect="1"/>
          </p:cNvGrpSpPr>
          <p:nvPr>
            <p:custDataLst>
              <p:tags r:id="rId2"/>
            </p:custDataLst>
          </p:nvPr>
        </p:nvGrpSpPr>
        <p:grpSpPr>
          <a:xfrm>
            <a:off x="2132343" y="1524072"/>
            <a:ext cx="504001" cy="504001"/>
            <a:chOff x="1566247" y="1677424"/>
            <a:chExt cx="297521" cy="297521"/>
          </a:xfrm>
        </p:grpSpPr>
        <p:sp>
          <p:nvSpPr>
            <p:cNvPr id="55" name="Background">
              <a:extLst>
                <a:ext uri="{FF2B5EF4-FFF2-40B4-BE49-F238E27FC236}">
                  <a16:creationId xmlns:a16="http://schemas.microsoft.com/office/drawing/2014/main" id="{2A428F49-96E3-4D45-A126-86F3287E2408}"/>
                </a:ext>
              </a:extLst>
            </p:cNvPr>
            <p:cNvSpPr>
              <a:spLocks/>
            </p:cNvSpPr>
            <p:nvPr/>
          </p:nvSpPr>
          <p:spPr>
            <a:xfrm>
              <a:off x="1566247" y="1677424"/>
              <a:ext cx="297521" cy="29752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646973"/>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1" i="0" u="none" strike="noStrike" kern="1200" cap="none" spc="0" normalizeH="0" baseline="0" noProof="0">
                <a:ln>
                  <a:noFill/>
                </a:ln>
                <a:solidFill>
                  <a:srgbClr val="000000"/>
                </a:solidFill>
                <a:effectLst/>
                <a:uLnTx/>
                <a:uFillTx/>
                <a:latin typeface="DB Sans"/>
                <a:ea typeface="+mn-ea"/>
                <a:cs typeface="+mn-cs"/>
              </a:endParaRPr>
            </a:p>
          </p:txBody>
        </p:sp>
        <p:pic>
          <p:nvPicPr>
            <p:cNvPr id="56" name="Vector">
              <a:extLst>
                <a:ext uri="{FF2B5EF4-FFF2-40B4-BE49-F238E27FC236}">
                  <a16:creationId xmlns:a16="http://schemas.microsoft.com/office/drawing/2014/main" id="{0DA17A60-8501-463D-98BB-4017F34D030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96207" y="1707383"/>
              <a:ext cx="237600" cy="237600"/>
            </a:xfrm>
            <a:prstGeom prst="rect">
              <a:avLst/>
            </a:prstGeom>
          </p:spPr>
        </p:pic>
      </p:grpSp>
      <p:sp>
        <p:nvSpPr>
          <p:cNvPr id="57" name="Oval 30">
            <a:extLst>
              <a:ext uri="{FF2B5EF4-FFF2-40B4-BE49-F238E27FC236}">
                <a16:creationId xmlns:a16="http://schemas.microsoft.com/office/drawing/2014/main" id="{361CF50C-130C-4148-B270-301E94F80484}"/>
              </a:ext>
            </a:extLst>
          </p:cNvPr>
          <p:cNvSpPr/>
          <p:nvPr/>
        </p:nvSpPr>
        <p:spPr bwMode="gray">
          <a:xfrm>
            <a:off x="5310907" y="1428957"/>
            <a:ext cx="720000" cy="7200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ts val="1000"/>
              </a:spcAft>
              <a:buClrTx/>
              <a:buSzTx/>
              <a:buFontTx/>
              <a:buNone/>
              <a:tabLst/>
              <a:defRPr/>
            </a:pPr>
            <a:endParaRPr kumimoji="0" lang="de-DE" sz="1400" b="0" i="0" u="none" strike="noStrike" kern="1200" cap="none" spc="0" normalizeH="0" baseline="0" noProof="0">
              <a:ln>
                <a:noFill/>
              </a:ln>
              <a:solidFill>
                <a:prstClr val="white"/>
              </a:solidFill>
              <a:effectLst/>
              <a:uLnTx/>
              <a:uFillTx/>
              <a:latin typeface="DB Office"/>
              <a:ea typeface="+mn-ea"/>
              <a:cs typeface="+mn-cs"/>
            </a:endParaRPr>
          </a:p>
        </p:txBody>
      </p:sp>
      <p:pic>
        <p:nvPicPr>
          <p:cNvPr id="58" name="Grafik 57" descr="Ein Bild, das Zug, Spur, Himmel, draußen enthält.&#10;&#10;Automatisch generierte Beschreibung">
            <a:extLst>
              <a:ext uri="{FF2B5EF4-FFF2-40B4-BE49-F238E27FC236}">
                <a16:creationId xmlns:a16="http://schemas.microsoft.com/office/drawing/2014/main" id="{49B251CC-948D-459F-BC36-C96AB0C57E1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8" t="7192" r="-28" b="33785"/>
          <a:stretch/>
        </p:blipFill>
        <p:spPr>
          <a:xfrm>
            <a:off x="842407" y="5153725"/>
            <a:ext cx="3068393" cy="1207381"/>
          </a:xfrm>
          <a:prstGeom prst="rect">
            <a:avLst/>
          </a:prstGeom>
        </p:spPr>
      </p:pic>
      <p:sp>
        <p:nvSpPr>
          <p:cNvPr id="59" name="Textfeld 58">
            <a:extLst>
              <a:ext uri="{FF2B5EF4-FFF2-40B4-BE49-F238E27FC236}">
                <a16:creationId xmlns:a16="http://schemas.microsoft.com/office/drawing/2014/main" id="{49101826-CFFB-44CA-8612-E5AF2580D596}"/>
              </a:ext>
            </a:extLst>
          </p:cNvPr>
          <p:cNvSpPr txBox="1"/>
          <p:nvPr/>
        </p:nvSpPr>
        <p:spPr>
          <a:xfrm rot="894970">
            <a:off x="9650350" y="1305732"/>
            <a:ext cx="2049066" cy="719034"/>
          </a:xfrm>
          <a:prstGeom prst="rect">
            <a:avLst/>
          </a:prstGeom>
          <a:noFill/>
          <a:scene3d>
            <a:camera prst="orthographicFront">
              <a:rot lat="0" lon="0" rev="0"/>
            </a:camera>
            <a:lightRig rig="threePt" dir="t"/>
          </a:scene3d>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DB Sans"/>
                <a:ea typeface="+mn-ea"/>
                <a:cs typeface="+mn-cs"/>
              </a:rPr>
              <a:t>Wöchentliche Email an </a:t>
            </a:r>
            <a:r>
              <a:rPr kumimoji="0" lang="de-DE" sz="1400" b="1" i="0" u="none" strike="noStrike" kern="1200" cap="none" spc="0" normalizeH="0" baseline="0" noProof="0" err="1">
                <a:ln>
                  <a:noFill/>
                </a:ln>
                <a:solidFill>
                  <a:prstClr val="white"/>
                </a:solidFill>
                <a:effectLst/>
                <a:uLnTx/>
                <a:uFillTx/>
                <a:latin typeface="DB Sans"/>
                <a:ea typeface="+mn-ea"/>
                <a:cs typeface="+mn-cs"/>
              </a:rPr>
              <a:t>Tf</a:t>
            </a:r>
            <a:r>
              <a:rPr kumimoji="0" lang="de-DE" sz="1400" b="1" i="0" u="none" strike="noStrike" kern="1200" cap="none" spc="0" normalizeH="0" baseline="0" noProof="0">
                <a:ln>
                  <a:noFill/>
                </a:ln>
                <a:solidFill>
                  <a:prstClr val="white"/>
                </a:solidFill>
                <a:effectLst/>
                <a:uLnTx/>
                <a:uFillTx/>
                <a:latin typeface="DB Sans"/>
                <a:ea typeface="+mn-ea"/>
                <a:cs typeface="+mn-cs"/>
              </a:rPr>
              <a:t> DB Cargo UK North East &amp; Cumbria:</a:t>
            </a:r>
          </a:p>
        </p:txBody>
      </p:sp>
      <p:grpSp>
        <p:nvGrpSpPr>
          <p:cNvPr id="60" name="easyIcon">
            <a:extLst>
              <a:ext uri="{FF2B5EF4-FFF2-40B4-BE49-F238E27FC236}">
                <a16:creationId xmlns:a16="http://schemas.microsoft.com/office/drawing/2014/main" id="{7B82D61C-D465-4042-A938-51CD4E2DFE80}"/>
              </a:ext>
            </a:extLst>
          </p:cNvPr>
          <p:cNvGrpSpPr>
            <a:grpSpLocks noChangeAspect="1"/>
          </p:cNvGrpSpPr>
          <p:nvPr>
            <p:custDataLst>
              <p:tags r:id="rId3"/>
            </p:custDataLst>
          </p:nvPr>
        </p:nvGrpSpPr>
        <p:grpSpPr>
          <a:xfrm>
            <a:off x="5420925" y="1546510"/>
            <a:ext cx="504001" cy="504001"/>
            <a:chOff x="5430598" y="1677423"/>
            <a:chExt cx="297521" cy="297521"/>
          </a:xfrm>
        </p:grpSpPr>
        <p:sp>
          <p:nvSpPr>
            <p:cNvPr id="61" name="Background">
              <a:extLst>
                <a:ext uri="{FF2B5EF4-FFF2-40B4-BE49-F238E27FC236}">
                  <a16:creationId xmlns:a16="http://schemas.microsoft.com/office/drawing/2014/main" id="{45BC2BEA-197C-418D-9F42-FCBE4890D505}"/>
                </a:ext>
              </a:extLst>
            </p:cNvPr>
            <p:cNvSpPr/>
            <p:nvPr/>
          </p:nvSpPr>
          <p:spPr>
            <a:xfrm>
              <a:off x="5430598" y="1677423"/>
              <a:ext cx="297521" cy="29752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646973"/>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1" i="0" u="none" strike="noStrike" kern="1200" cap="none" spc="0" normalizeH="0" baseline="0" noProof="0">
                <a:ln>
                  <a:noFill/>
                </a:ln>
                <a:solidFill>
                  <a:srgbClr val="000000"/>
                </a:solidFill>
                <a:effectLst/>
                <a:uLnTx/>
                <a:uFillTx/>
                <a:latin typeface="DB Sans"/>
                <a:ea typeface="+mn-ea"/>
                <a:cs typeface="+mn-cs"/>
              </a:endParaRPr>
            </a:p>
          </p:txBody>
        </p:sp>
        <p:pic>
          <p:nvPicPr>
            <p:cNvPr id="62" name="Vector">
              <a:extLst>
                <a:ext uri="{FF2B5EF4-FFF2-40B4-BE49-F238E27FC236}">
                  <a16:creationId xmlns:a16="http://schemas.microsoft.com/office/drawing/2014/main" id="{39D91C33-7F02-48E0-9B3C-868B19E8C7C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1220" y="1696819"/>
              <a:ext cx="237600" cy="237600"/>
            </a:xfrm>
            <a:prstGeom prst="rect">
              <a:avLst/>
            </a:prstGeom>
          </p:spPr>
        </p:pic>
      </p:grpSp>
      <p:sp>
        <p:nvSpPr>
          <p:cNvPr id="64" name="Freihandform 63">
            <a:extLst>
              <a:ext uri="{FF2B5EF4-FFF2-40B4-BE49-F238E27FC236}">
                <a16:creationId xmlns:a16="http://schemas.microsoft.com/office/drawing/2014/main" id="{553B7DDA-3B67-491D-8E51-95F81A999347}"/>
              </a:ext>
            </a:extLst>
          </p:cNvPr>
          <p:cNvSpPr/>
          <p:nvPr>
            <p:custDataLst>
              <p:tags r:id="rId4"/>
            </p:custDataLst>
          </p:nvPr>
        </p:nvSpPr>
        <p:spPr bwMode="gray">
          <a:xfrm rot="1556304">
            <a:off x="9375851" y="1281456"/>
            <a:ext cx="2908660" cy="1211511"/>
          </a:xfrm>
          <a:custGeom>
            <a:avLst/>
            <a:gdLst>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6420 w 5563518"/>
              <a:gd name="connsiteY67" fmla="*/ 2798284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33786 w 5565101"/>
              <a:gd name="connsiteY18" fmla="*/ 2577947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33786 w 5565101"/>
              <a:gd name="connsiteY18" fmla="*/ 2577947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707070 w 5565101"/>
              <a:gd name="connsiteY45" fmla="*/ 575446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73467 w 5565101"/>
              <a:gd name="connsiteY67" fmla="*/ 2149820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73467 w 5565101"/>
              <a:gd name="connsiteY67" fmla="*/ 2149820 h 3635566"/>
              <a:gd name="connsiteX68" fmla="*/ 2883902 w 5565101"/>
              <a:gd name="connsiteY68" fmla="*/ 2810585 h 3635566"/>
              <a:gd name="connsiteX69" fmla="*/ 783781 w 5565101"/>
              <a:gd name="connsiteY69" fmla="*/ 3635566 h 363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565101" h="3635566">
                <a:moveTo>
                  <a:pt x="783781" y="3635566"/>
                </a:moveTo>
                <a:lnTo>
                  <a:pt x="783781" y="3635566"/>
                </a:lnTo>
                <a:lnTo>
                  <a:pt x="673612" y="3481330"/>
                </a:lnTo>
                <a:cubicBezTo>
                  <a:pt x="736041" y="3437263"/>
                  <a:pt x="864077" y="3417798"/>
                  <a:pt x="860899" y="3349128"/>
                </a:cubicBezTo>
                <a:lnTo>
                  <a:pt x="860899" y="3349128"/>
                </a:lnTo>
                <a:cubicBezTo>
                  <a:pt x="860899" y="3349128"/>
                  <a:pt x="898100" y="3280220"/>
                  <a:pt x="673612" y="3360145"/>
                </a:cubicBezTo>
                <a:cubicBezTo>
                  <a:pt x="619203" y="3311301"/>
                  <a:pt x="601698" y="3254258"/>
                  <a:pt x="604695" y="3156209"/>
                </a:cubicBezTo>
                <a:cubicBezTo>
                  <a:pt x="638684" y="3110347"/>
                  <a:pt x="734181" y="3113689"/>
                  <a:pt x="706663" y="3018622"/>
                </a:cubicBezTo>
                <a:cubicBezTo>
                  <a:pt x="680282" y="3011953"/>
                  <a:pt x="573736" y="3080540"/>
                  <a:pt x="541410" y="3084723"/>
                </a:cubicBezTo>
                <a:cubicBezTo>
                  <a:pt x="509084" y="3088906"/>
                  <a:pt x="522275" y="3057387"/>
                  <a:pt x="512707" y="3043719"/>
                </a:cubicBezTo>
                <a:lnTo>
                  <a:pt x="673612" y="2886419"/>
                </a:lnTo>
                <a:cubicBezTo>
                  <a:pt x="667634" y="2852940"/>
                  <a:pt x="694461" y="2827662"/>
                  <a:pt x="655679" y="2785982"/>
                </a:cubicBezTo>
                <a:cubicBezTo>
                  <a:pt x="554732" y="2804591"/>
                  <a:pt x="457886" y="2954414"/>
                  <a:pt x="377441" y="2956621"/>
                </a:cubicBezTo>
                <a:cubicBezTo>
                  <a:pt x="337293" y="2931690"/>
                  <a:pt x="399656" y="2849350"/>
                  <a:pt x="343106" y="2820318"/>
                </a:cubicBezTo>
                <a:cubicBezTo>
                  <a:pt x="277005" y="2806733"/>
                  <a:pt x="223205" y="2875156"/>
                  <a:pt x="144803" y="2853369"/>
                </a:cubicBezTo>
                <a:cubicBezTo>
                  <a:pt x="112428" y="2832619"/>
                  <a:pt x="174362" y="2762666"/>
                  <a:pt x="133786" y="2754217"/>
                </a:cubicBezTo>
                <a:cubicBezTo>
                  <a:pt x="100307" y="2752504"/>
                  <a:pt x="87330" y="2799997"/>
                  <a:pt x="45651" y="2798284"/>
                </a:cubicBezTo>
                <a:cubicBezTo>
                  <a:pt x="30962" y="2765234"/>
                  <a:pt x="-8330" y="2760886"/>
                  <a:pt x="1583" y="2699133"/>
                </a:cubicBezTo>
                <a:lnTo>
                  <a:pt x="125585" y="2606651"/>
                </a:lnTo>
                <a:lnTo>
                  <a:pt x="111752" y="2511846"/>
                </a:lnTo>
                <a:cubicBezTo>
                  <a:pt x="148475" y="2500829"/>
                  <a:pt x="189298" y="2514414"/>
                  <a:pt x="221921" y="2478795"/>
                </a:cubicBezTo>
                <a:cubicBezTo>
                  <a:pt x="216717" y="2436687"/>
                  <a:pt x="141806" y="2447885"/>
                  <a:pt x="144803" y="2401677"/>
                </a:cubicBezTo>
                <a:cubicBezTo>
                  <a:pt x="174181" y="2373403"/>
                  <a:pt x="203560" y="2394332"/>
                  <a:pt x="232938" y="2390660"/>
                </a:cubicBezTo>
                <a:lnTo>
                  <a:pt x="232938" y="2390660"/>
                </a:lnTo>
                <a:cubicBezTo>
                  <a:pt x="232938" y="2353937"/>
                  <a:pt x="196034" y="2341818"/>
                  <a:pt x="232938" y="2280492"/>
                </a:cubicBezTo>
                <a:lnTo>
                  <a:pt x="133786" y="2269475"/>
                </a:lnTo>
                <a:cubicBezTo>
                  <a:pt x="126327" y="2216532"/>
                  <a:pt x="336190" y="2147186"/>
                  <a:pt x="431241" y="2049137"/>
                </a:cubicBezTo>
                <a:cubicBezTo>
                  <a:pt x="466432" y="2011986"/>
                  <a:pt x="460620" y="1983036"/>
                  <a:pt x="475309" y="1949986"/>
                </a:cubicBezTo>
                <a:cubicBezTo>
                  <a:pt x="364778" y="1957084"/>
                  <a:pt x="401863" y="1898574"/>
                  <a:pt x="365140" y="1872868"/>
                </a:cubicBezTo>
                <a:cubicBezTo>
                  <a:pt x="365486" y="1837429"/>
                  <a:pt x="365831" y="1801991"/>
                  <a:pt x="366177" y="1766552"/>
                </a:cubicBezTo>
                <a:cubicBezTo>
                  <a:pt x="382513" y="1731591"/>
                  <a:pt x="483156" y="1666683"/>
                  <a:pt x="512361" y="1638499"/>
                </a:cubicBezTo>
                <a:cubicBezTo>
                  <a:pt x="541567" y="1610315"/>
                  <a:pt x="536569" y="1604288"/>
                  <a:pt x="541410" y="1597446"/>
                </a:cubicBezTo>
                <a:lnTo>
                  <a:pt x="541410" y="1597446"/>
                </a:lnTo>
                <a:cubicBezTo>
                  <a:pt x="489998" y="1593774"/>
                  <a:pt x="356577" y="1651608"/>
                  <a:pt x="387174" y="1586429"/>
                </a:cubicBezTo>
                <a:cubicBezTo>
                  <a:pt x="456453" y="1495297"/>
                  <a:pt x="394519" y="1461571"/>
                  <a:pt x="398191" y="1399142"/>
                </a:cubicBezTo>
                <a:cubicBezTo>
                  <a:pt x="373851" y="1381126"/>
                  <a:pt x="316708" y="1404116"/>
                  <a:pt x="325172" y="1345095"/>
                </a:cubicBezTo>
                <a:lnTo>
                  <a:pt x="563444" y="1188290"/>
                </a:lnTo>
                <a:cubicBezTo>
                  <a:pt x="678405" y="1139364"/>
                  <a:pt x="2741078" y="331857"/>
                  <a:pt x="4463415" y="0"/>
                </a:cubicBezTo>
                <a:cubicBezTo>
                  <a:pt x="4559932" y="38074"/>
                  <a:pt x="4566239" y="190959"/>
                  <a:pt x="4617651" y="286439"/>
                </a:cubicBezTo>
                <a:lnTo>
                  <a:pt x="4672735" y="242371"/>
                </a:lnTo>
                <a:cubicBezTo>
                  <a:pt x="4713904" y="255776"/>
                  <a:pt x="4714069" y="301984"/>
                  <a:pt x="4734736" y="331791"/>
                </a:cubicBezTo>
                <a:lnTo>
                  <a:pt x="4790314" y="398139"/>
                </a:lnTo>
                <a:cubicBezTo>
                  <a:pt x="4795189" y="419662"/>
                  <a:pt x="4797717" y="440329"/>
                  <a:pt x="4804938" y="462709"/>
                </a:cubicBezTo>
                <a:cubicBezTo>
                  <a:pt x="4812159" y="485089"/>
                  <a:pt x="4824073" y="509181"/>
                  <a:pt x="4833641" y="532417"/>
                </a:cubicBezTo>
                <a:cubicBezTo>
                  <a:pt x="4787350" y="538559"/>
                  <a:pt x="4724065" y="536838"/>
                  <a:pt x="4694769" y="550843"/>
                </a:cubicBezTo>
                <a:cubicBezTo>
                  <a:pt x="4665473" y="564848"/>
                  <a:pt x="4653765" y="608249"/>
                  <a:pt x="4657865" y="616450"/>
                </a:cubicBezTo>
                <a:lnTo>
                  <a:pt x="4738836" y="661012"/>
                </a:lnTo>
                <a:cubicBezTo>
                  <a:pt x="4817403" y="657257"/>
                  <a:pt x="4904172" y="604298"/>
                  <a:pt x="4974538" y="649748"/>
                </a:cubicBezTo>
                <a:cubicBezTo>
                  <a:pt x="5036555" y="688513"/>
                  <a:pt x="5008363" y="760081"/>
                  <a:pt x="5025275" y="815248"/>
                </a:cubicBezTo>
                <a:lnTo>
                  <a:pt x="5068305" y="910299"/>
                </a:lnTo>
                <a:lnTo>
                  <a:pt x="4915106" y="969484"/>
                </a:lnTo>
                <a:cubicBezTo>
                  <a:pt x="4929795" y="991518"/>
                  <a:pt x="4915782" y="1017652"/>
                  <a:pt x="4959174" y="1035586"/>
                </a:cubicBezTo>
                <a:cubicBezTo>
                  <a:pt x="5184831" y="911898"/>
                  <a:pt x="5332579" y="931724"/>
                  <a:pt x="5377815" y="947451"/>
                </a:cubicBezTo>
                <a:cubicBezTo>
                  <a:pt x="5444097" y="1001679"/>
                  <a:pt x="5436572" y="1072308"/>
                  <a:pt x="5465950" y="1134737"/>
                </a:cubicBezTo>
                <a:lnTo>
                  <a:pt x="5311713" y="1211856"/>
                </a:lnTo>
                <a:lnTo>
                  <a:pt x="5322730" y="1266940"/>
                </a:lnTo>
                <a:cubicBezTo>
                  <a:pt x="5395073" y="1237562"/>
                  <a:pt x="5430511" y="1236886"/>
                  <a:pt x="5478251" y="1207508"/>
                </a:cubicBezTo>
                <a:cubicBezTo>
                  <a:pt x="5531803" y="1219365"/>
                  <a:pt x="5536151" y="1313231"/>
                  <a:pt x="5565101" y="1366092"/>
                </a:cubicBezTo>
                <a:cubicBezTo>
                  <a:pt x="5452298" y="1456549"/>
                  <a:pt x="5277987" y="1456795"/>
                  <a:pt x="5120079" y="1489845"/>
                </a:cubicBezTo>
                <a:cubicBezTo>
                  <a:pt x="5119733" y="1522814"/>
                  <a:pt x="5119388" y="1555782"/>
                  <a:pt x="5119042" y="1588751"/>
                </a:cubicBezTo>
                <a:lnTo>
                  <a:pt x="5182574" y="1604115"/>
                </a:lnTo>
                <a:cubicBezTo>
                  <a:pt x="5203587" y="1627598"/>
                  <a:pt x="5224854" y="1667606"/>
                  <a:pt x="5245612" y="1674564"/>
                </a:cubicBezTo>
                <a:cubicBezTo>
                  <a:pt x="5266370" y="1681522"/>
                  <a:pt x="5290552" y="1637109"/>
                  <a:pt x="5307119" y="1645861"/>
                </a:cubicBezTo>
                <a:cubicBezTo>
                  <a:pt x="5323686" y="1654613"/>
                  <a:pt x="5332381" y="1700006"/>
                  <a:pt x="5345012" y="1727079"/>
                </a:cubicBezTo>
                <a:lnTo>
                  <a:pt x="5434677" y="1793674"/>
                </a:lnTo>
                <a:cubicBezTo>
                  <a:pt x="5434084" y="1849450"/>
                  <a:pt x="5412990" y="1831419"/>
                  <a:pt x="5412397" y="1887195"/>
                </a:cubicBezTo>
                <a:cubicBezTo>
                  <a:pt x="5447687" y="1971164"/>
                  <a:pt x="5359964" y="1973123"/>
                  <a:pt x="5333747" y="2016087"/>
                </a:cubicBezTo>
                <a:lnTo>
                  <a:pt x="5373467" y="2149820"/>
                </a:lnTo>
                <a:cubicBezTo>
                  <a:pt x="4667992" y="2355040"/>
                  <a:pt x="3753395" y="2560260"/>
                  <a:pt x="2883902" y="2810585"/>
                </a:cubicBezTo>
                <a:cubicBezTo>
                  <a:pt x="1294065" y="3352108"/>
                  <a:pt x="1483821" y="3360572"/>
                  <a:pt x="783781" y="3635566"/>
                </a:cubicBezTo>
                <a:close/>
              </a:path>
            </a:pathLst>
          </a:custGeom>
          <a:solidFill>
            <a:schemeClr val="accent2"/>
          </a:solidFill>
          <a:ln>
            <a:noFill/>
          </a:ln>
          <a:effectLst>
            <a:outerShdw blurRad="63500" sx="102000" sy="102000" algn="ctr" rotWithShape="0">
              <a:prstClr val="black">
                <a:alpha val="40000"/>
              </a:prstClr>
            </a:outerShdw>
          </a:effectLst>
        </p:spPr>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DB Sans"/>
              <a:ea typeface="+mn-ea"/>
              <a:cs typeface="+mn-cs"/>
            </a:endParaRPr>
          </a:p>
        </p:txBody>
      </p:sp>
      <p:sp>
        <p:nvSpPr>
          <p:cNvPr id="65" name="Textfeld 64">
            <a:extLst>
              <a:ext uri="{FF2B5EF4-FFF2-40B4-BE49-F238E27FC236}">
                <a16:creationId xmlns:a16="http://schemas.microsoft.com/office/drawing/2014/main" id="{A2D469D9-6596-44F5-A1ED-A42C160497F1}"/>
              </a:ext>
            </a:extLst>
          </p:cNvPr>
          <p:cNvSpPr txBox="1"/>
          <p:nvPr/>
        </p:nvSpPr>
        <p:spPr>
          <a:xfrm rot="894970">
            <a:off x="9802750" y="1458132"/>
            <a:ext cx="2049066" cy="719034"/>
          </a:xfrm>
          <a:prstGeom prst="rect">
            <a:avLst/>
          </a:prstGeom>
          <a:noFill/>
          <a:scene3d>
            <a:camera prst="orthographicFront">
              <a:rot lat="0" lon="0" rev="0"/>
            </a:camera>
            <a:lightRig rig="threePt" dir="t"/>
          </a:scene3d>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DB Sans"/>
                <a:ea typeface="+mn-ea"/>
                <a:cs typeface="+mn-cs"/>
              </a:rPr>
              <a:t>Weekly Email </a:t>
            </a:r>
            <a:r>
              <a:rPr kumimoji="0" lang="de-DE" sz="1400" b="1" i="0" u="none" strike="noStrike" kern="1200" cap="none" spc="0" normalizeH="0" baseline="0" noProof="0" err="1">
                <a:ln>
                  <a:noFill/>
                </a:ln>
                <a:solidFill>
                  <a:prstClr val="white"/>
                </a:solidFill>
                <a:effectLst/>
                <a:uLnTx/>
                <a:uFillTx/>
                <a:latin typeface="DB Sans"/>
                <a:ea typeface="+mn-ea"/>
                <a:cs typeface="+mn-cs"/>
              </a:rPr>
              <a:t>to</a:t>
            </a:r>
            <a:r>
              <a:rPr kumimoji="0" lang="de-DE" sz="1400" b="1" i="0" u="none" strike="noStrike" kern="1200" cap="none" spc="0" normalizeH="0" baseline="0" noProof="0">
                <a:ln>
                  <a:noFill/>
                </a:ln>
                <a:solidFill>
                  <a:prstClr val="white"/>
                </a:solidFill>
                <a:effectLst/>
                <a:uLnTx/>
                <a:uFillTx/>
                <a:latin typeface="DB Sans"/>
                <a:ea typeface="+mn-ea"/>
                <a:cs typeface="+mn-cs"/>
              </a:rPr>
              <a:t> </a:t>
            </a:r>
            <a:r>
              <a:rPr kumimoji="0" lang="de-DE" sz="1400" b="1" i="0" u="none" strike="noStrike" kern="1200" cap="none" spc="0" normalizeH="0" baseline="0" noProof="0" err="1">
                <a:ln>
                  <a:noFill/>
                </a:ln>
                <a:solidFill>
                  <a:prstClr val="white"/>
                </a:solidFill>
                <a:effectLst/>
                <a:uLnTx/>
                <a:uFillTx/>
                <a:latin typeface="DB Sans"/>
                <a:ea typeface="+mn-ea"/>
                <a:cs typeface="+mn-cs"/>
              </a:rPr>
              <a:t>drivers</a:t>
            </a:r>
            <a:r>
              <a:rPr kumimoji="0" lang="de-DE" sz="1400" b="1" i="0" u="none" strike="noStrike" kern="1200" cap="none" spc="0" normalizeH="0" baseline="0" noProof="0">
                <a:ln>
                  <a:noFill/>
                </a:ln>
                <a:solidFill>
                  <a:prstClr val="white"/>
                </a:solidFill>
                <a:effectLst/>
                <a:uLnTx/>
                <a:uFillTx/>
                <a:latin typeface="DB Sans"/>
                <a:ea typeface="+mn-ea"/>
                <a:cs typeface="+mn-cs"/>
              </a:rPr>
              <a:t> in North East &amp; Cumbria:</a:t>
            </a:r>
          </a:p>
        </p:txBody>
      </p:sp>
    </p:spTree>
    <p:extLst>
      <p:ext uri="{BB962C8B-B14F-4D97-AF65-F5344CB8AC3E}">
        <p14:creationId xmlns:p14="http://schemas.microsoft.com/office/powerpoint/2010/main" val="14251285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Ein Bild, das draußen, Himmel, Spur, Boden enthält.&#10;&#10;Automatisch generierte Beschreibung">
            <a:extLst>
              <a:ext uri="{FF2B5EF4-FFF2-40B4-BE49-F238E27FC236}">
                <a16:creationId xmlns:a16="http://schemas.microsoft.com/office/drawing/2014/main" id="{9DCD8861-67FB-43E1-9ECA-9A55452E4C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platzhalter 6">
            <a:extLst>
              <a:ext uri="{FF2B5EF4-FFF2-40B4-BE49-F238E27FC236}">
                <a16:creationId xmlns:a16="http://schemas.microsoft.com/office/drawing/2014/main" id="{0A67CB42-6736-4ACD-8FFA-E57379CCA932}"/>
              </a:ext>
            </a:extLst>
          </p:cNvPr>
          <p:cNvSpPr>
            <a:spLocks noGrp="1"/>
          </p:cNvSpPr>
          <p:nvPr>
            <p:ph type="body" sz="quarter" idx="19"/>
          </p:nvPr>
        </p:nvSpPr>
        <p:spPr>
          <a:xfrm>
            <a:off x="335161" y="4509105"/>
            <a:ext cx="11521677" cy="1231349"/>
          </a:xfrm>
        </p:spPr>
        <p:txBody>
          <a:bodyPr/>
          <a:lstStyle/>
          <a:p>
            <a:pPr algn="ctr">
              <a:spcBef>
                <a:spcPts val="600"/>
              </a:spcBef>
            </a:pPr>
            <a:r>
              <a:rPr lang="en-US" sz="4000">
                <a:ea typeface="+mj-ea"/>
                <a:cs typeface="+mj-cs"/>
              </a:rPr>
              <a:t>Thank you for your attention. </a:t>
            </a:r>
          </a:p>
          <a:p>
            <a:pPr algn="ctr">
              <a:spcBef>
                <a:spcPts val="600"/>
              </a:spcBef>
            </a:pPr>
            <a:r>
              <a:rPr lang="en-US" sz="4000">
                <a:ea typeface="+mj-ea"/>
                <a:cs typeface="+mj-cs"/>
              </a:rPr>
              <a:t>Any questions?</a:t>
            </a:r>
          </a:p>
        </p:txBody>
      </p:sp>
      <p:sp>
        <p:nvSpPr>
          <p:cNvPr id="8" name="Textplatzhalter 7">
            <a:extLst>
              <a:ext uri="{FF2B5EF4-FFF2-40B4-BE49-F238E27FC236}">
                <a16:creationId xmlns:a16="http://schemas.microsoft.com/office/drawing/2014/main" id="{9FE8A6F7-C5A5-47B5-AFB8-C5C59AC97D38}"/>
              </a:ext>
            </a:extLst>
          </p:cNvPr>
          <p:cNvSpPr>
            <a:spLocks noGrp="1"/>
          </p:cNvSpPr>
          <p:nvPr>
            <p:ph type="body" sz="quarter" idx="18"/>
          </p:nvPr>
        </p:nvSpPr>
        <p:spPr/>
        <p:txBody>
          <a:bodyPr/>
          <a:lstStyle/>
          <a:p>
            <a:endParaRPr lang="de-DE"/>
          </a:p>
        </p:txBody>
      </p:sp>
      <p:grpSp>
        <p:nvGrpSpPr>
          <p:cNvPr id="5" name="Gruppieren 4">
            <a:extLst>
              <a:ext uri="{FF2B5EF4-FFF2-40B4-BE49-F238E27FC236}">
                <a16:creationId xmlns:a16="http://schemas.microsoft.com/office/drawing/2014/main" id="{363EF40F-69AC-47F7-9356-450B95151EBE}"/>
              </a:ext>
            </a:extLst>
          </p:cNvPr>
          <p:cNvGrpSpPr/>
          <p:nvPr/>
        </p:nvGrpSpPr>
        <p:grpSpPr>
          <a:xfrm>
            <a:off x="5367760" y="483025"/>
            <a:ext cx="1665488" cy="1134573"/>
            <a:chOff x="7581626" y="4786322"/>
            <a:chExt cx="1665488" cy="1134573"/>
          </a:xfrm>
          <a:solidFill>
            <a:srgbClr val="9FD45F"/>
          </a:solidFill>
        </p:grpSpPr>
        <p:sp>
          <p:nvSpPr>
            <p:cNvPr id="6" name="Denkblase: wolkenförmig 5">
              <a:extLst>
                <a:ext uri="{FF2B5EF4-FFF2-40B4-BE49-F238E27FC236}">
                  <a16:creationId xmlns:a16="http://schemas.microsoft.com/office/drawing/2014/main" id="{2153E5B1-8922-48E0-88EA-2651D6A35906}"/>
                </a:ext>
              </a:extLst>
            </p:cNvPr>
            <p:cNvSpPr/>
            <p:nvPr/>
          </p:nvSpPr>
          <p:spPr bwMode="auto">
            <a:xfrm>
              <a:off x="7581626" y="4786322"/>
              <a:ext cx="1665488" cy="1134573"/>
            </a:xfrm>
            <a:prstGeom prst="cloudCallout">
              <a:avLst>
                <a:gd name="adj1" fmla="val -33765"/>
                <a:gd name="adj2" fmla="val 72393"/>
              </a:avLst>
            </a:prstGeom>
            <a:grp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err="1">
                <a:ln>
                  <a:noFill/>
                </a:ln>
                <a:solidFill>
                  <a:prstClr val="black"/>
                </a:solidFill>
                <a:effectLst/>
                <a:uLnTx/>
                <a:uFillTx/>
                <a:latin typeface="DB Office" pitchFamily="34" charset="0"/>
                <a:ea typeface="+mn-ea"/>
                <a:cs typeface="+mn-cs"/>
              </a:endParaRPr>
            </a:p>
          </p:txBody>
        </p:sp>
        <p:pic>
          <p:nvPicPr>
            <p:cNvPr id="12" name="Vector">
              <a:extLst>
                <a:ext uri="{FF2B5EF4-FFF2-40B4-BE49-F238E27FC236}">
                  <a16:creationId xmlns:a16="http://schemas.microsoft.com/office/drawing/2014/main" id="{8A3F3B5A-1CB7-4E82-9132-D80BBB1BC2DB}"/>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7999399" y="4929843"/>
              <a:ext cx="836468" cy="836468"/>
            </a:xfrm>
            <a:prstGeom prst="rect">
              <a:avLst/>
            </a:prstGeom>
          </p:spPr>
        </p:pic>
      </p:grpSp>
      <p:sp>
        <p:nvSpPr>
          <p:cNvPr id="2" name="Fußzeilenplatzhalter 1">
            <a:extLst>
              <a:ext uri="{FF2B5EF4-FFF2-40B4-BE49-F238E27FC236}">
                <a16:creationId xmlns:a16="http://schemas.microsoft.com/office/drawing/2014/main" id="{79DBA492-0FE9-4927-9360-F076039562E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white"/>
                </a:solidFill>
                <a:effectLst/>
                <a:uLnTx/>
                <a:uFillTx/>
                <a:latin typeface="DB Sans"/>
                <a:ea typeface="+mn-ea"/>
                <a:cs typeface="+mn-cs"/>
              </a:rPr>
              <a:t>© DB Regio AG | R.RBE Eisenbahnbetriebsleiter</a:t>
            </a:r>
          </a:p>
        </p:txBody>
      </p:sp>
      <p:sp>
        <p:nvSpPr>
          <p:cNvPr id="3" name="Foliennummernplatzhalter 2">
            <a:extLst>
              <a:ext uri="{FF2B5EF4-FFF2-40B4-BE49-F238E27FC236}">
                <a16:creationId xmlns:a16="http://schemas.microsoft.com/office/drawing/2014/main" id="{B545AB20-A2EB-4216-AE74-F9FB23CB56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white"/>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000" b="1" i="0" u="none" strike="noStrike" kern="1200" cap="none" spc="0" normalizeH="0" baseline="0" noProof="0">
              <a:ln>
                <a:noFill/>
              </a:ln>
              <a:solidFill>
                <a:prstClr val="white"/>
              </a:solidFill>
              <a:effectLst/>
              <a:uLnTx/>
              <a:uFillTx/>
              <a:latin typeface="DB Sans"/>
              <a:ea typeface="+mn-ea"/>
              <a:cs typeface="+mn-cs"/>
            </a:endParaRPr>
          </a:p>
        </p:txBody>
      </p:sp>
    </p:spTree>
    <p:extLst>
      <p:ext uri="{BB962C8B-B14F-4D97-AF65-F5344CB8AC3E}">
        <p14:creationId xmlns:p14="http://schemas.microsoft.com/office/powerpoint/2010/main" val="41791770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normAutofit/>
          </a:bodyPr>
          <a:lstStyle/>
          <a:p>
            <a:r>
              <a:rPr lang="en-US" sz="1800" b="0" i="0">
                <a:effectLst/>
                <a:latin typeface="Calibri" panose="020F0502020204030204" pitchFamily="34" charset="0"/>
              </a:rPr>
              <a:t>Session 5 – How are workload and fatigue managed? ECM’s perspective  </a:t>
            </a:r>
            <a:endParaRPr lang="en-GB"/>
          </a:p>
        </p:txBody>
      </p:sp>
    </p:spTree>
    <p:extLst>
      <p:ext uri="{BB962C8B-B14F-4D97-AF65-F5344CB8AC3E}">
        <p14:creationId xmlns:p14="http://schemas.microsoft.com/office/powerpoint/2010/main" val="24340940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895233368"/>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17</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6284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AF061E-82CD-49EC-83F6-210975633319}"/>
              </a:ext>
            </a:extLst>
          </p:cNvPr>
          <p:cNvSpPr>
            <a:spLocks noGrp="1"/>
          </p:cNvSpPr>
          <p:nvPr>
            <p:ph type="title"/>
          </p:nvPr>
        </p:nvSpPr>
        <p:spPr/>
        <p:txBody>
          <a:bodyPr/>
          <a:lstStyle/>
          <a:p>
            <a:r>
              <a:rPr lang="fr-LU">
                <a:solidFill>
                  <a:schemeClr val="tx1"/>
                </a:solidFill>
              </a:rPr>
              <a:t>Human and </a:t>
            </a:r>
            <a:r>
              <a:rPr lang="fr-LU" err="1">
                <a:solidFill>
                  <a:schemeClr val="tx1"/>
                </a:solidFill>
              </a:rPr>
              <a:t>Organisational</a:t>
            </a:r>
            <a:r>
              <a:rPr lang="fr-LU">
                <a:solidFill>
                  <a:schemeClr val="tx1"/>
                </a:solidFill>
              </a:rPr>
              <a:t> </a:t>
            </a:r>
            <a:r>
              <a:rPr lang="fr-LU" err="1">
                <a:solidFill>
                  <a:schemeClr val="tx1"/>
                </a:solidFill>
              </a:rPr>
              <a:t>Factors</a:t>
            </a:r>
            <a:r>
              <a:rPr lang="fr-LU">
                <a:solidFill>
                  <a:schemeClr val="tx1"/>
                </a:solidFill>
              </a:rPr>
              <a:t> in Maintenance</a:t>
            </a:r>
            <a:br>
              <a:rPr lang="fr-LU">
                <a:solidFill>
                  <a:schemeClr val="tx1"/>
                </a:solidFill>
              </a:rPr>
            </a:br>
            <a:br>
              <a:rPr lang="fr-LU">
                <a:solidFill>
                  <a:schemeClr val="tx1"/>
                </a:solidFill>
              </a:rPr>
            </a:br>
            <a:r>
              <a:rPr lang="fr-LU" sz="1213">
                <a:solidFill>
                  <a:schemeClr val="tx1"/>
                </a:solidFill>
              </a:rPr>
              <a:t>Geoffrey TRESONTANI / CFL cargo</a:t>
            </a:r>
            <a:br>
              <a:rPr lang="fr-LU">
                <a:solidFill>
                  <a:schemeClr val="tx1"/>
                </a:solidFill>
              </a:rPr>
            </a:br>
            <a:br>
              <a:rPr lang="fr-LU">
                <a:solidFill>
                  <a:schemeClr val="tx1"/>
                </a:solidFill>
              </a:rPr>
            </a:br>
            <a:r>
              <a:rPr lang="fr-LU">
                <a:solidFill>
                  <a:schemeClr val="tx1"/>
                </a:solidFill>
              </a:rPr>
              <a:t>ERA HOF </a:t>
            </a:r>
            <a:r>
              <a:rPr lang="fr-LU" err="1">
                <a:solidFill>
                  <a:schemeClr val="tx1"/>
                </a:solidFill>
              </a:rPr>
              <a:t>conference</a:t>
            </a:r>
            <a:r>
              <a:rPr lang="fr-LU">
                <a:solidFill>
                  <a:schemeClr val="tx1"/>
                </a:solidFill>
              </a:rPr>
              <a:t> 2022</a:t>
            </a:r>
            <a:br>
              <a:rPr lang="fr-LU">
                <a:solidFill>
                  <a:schemeClr val="tx1"/>
                </a:solidFill>
              </a:rPr>
            </a:br>
            <a:br>
              <a:rPr lang="fr-LU">
                <a:solidFill>
                  <a:schemeClr val="tx1"/>
                </a:solidFill>
              </a:rPr>
            </a:br>
            <a:endParaRPr lang="fr-LU"/>
          </a:p>
        </p:txBody>
      </p:sp>
    </p:spTree>
    <p:extLst>
      <p:ext uri="{BB962C8B-B14F-4D97-AF65-F5344CB8AC3E}">
        <p14:creationId xmlns:p14="http://schemas.microsoft.com/office/powerpoint/2010/main" val="13258329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F8B4D5-C044-874A-B26B-DCDF28D034D8}"/>
              </a:ext>
            </a:extLst>
          </p:cNvPr>
          <p:cNvSpPr>
            <a:spLocks noGrp="1"/>
          </p:cNvSpPr>
          <p:nvPr>
            <p:ph sz="half" idx="10"/>
          </p:nvPr>
        </p:nvSpPr>
        <p:spPr/>
        <p:txBody>
          <a:bodyPr/>
          <a:lstStyle/>
          <a:p>
            <a:endParaRPr lang="fr-LU"/>
          </a:p>
        </p:txBody>
      </p:sp>
      <p:sp>
        <p:nvSpPr>
          <p:cNvPr id="3" name="Text Placeholder 2">
            <a:extLst>
              <a:ext uri="{FF2B5EF4-FFF2-40B4-BE49-F238E27FC236}">
                <a16:creationId xmlns:a16="http://schemas.microsoft.com/office/drawing/2014/main" id="{AB68362E-16CB-6CC6-231D-EE562DBF560E}"/>
              </a:ext>
            </a:extLst>
          </p:cNvPr>
          <p:cNvSpPr>
            <a:spLocks noGrp="1"/>
          </p:cNvSpPr>
          <p:nvPr>
            <p:ph type="body" sz="quarter" idx="13"/>
          </p:nvPr>
        </p:nvSpPr>
        <p:spPr/>
        <p:txBody>
          <a:bodyPr/>
          <a:lstStyle/>
          <a:p>
            <a:endParaRPr lang="fr-LU"/>
          </a:p>
        </p:txBody>
      </p:sp>
      <p:sp>
        <p:nvSpPr>
          <p:cNvPr id="4" name="Title 3">
            <a:extLst>
              <a:ext uri="{FF2B5EF4-FFF2-40B4-BE49-F238E27FC236}">
                <a16:creationId xmlns:a16="http://schemas.microsoft.com/office/drawing/2014/main" id="{1127E8C5-27DA-D886-2B98-C5B7A87974A1}"/>
              </a:ext>
            </a:extLst>
          </p:cNvPr>
          <p:cNvSpPr>
            <a:spLocks noGrp="1"/>
          </p:cNvSpPr>
          <p:nvPr>
            <p:ph type="title"/>
          </p:nvPr>
        </p:nvSpPr>
        <p:spPr/>
        <p:txBody>
          <a:bodyPr/>
          <a:lstStyle/>
          <a:p>
            <a:r>
              <a:rPr lang="fr-LU"/>
              <a:t>Our </a:t>
            </a:r>
            <a:r>
              <a:rPr lang="fr-LU" err="1"/>
              <a:t>company</a:t>
            </a:r>
            <a:r>
              <a:rPr lang="fr-LU"/>
              <a:t> </a:t>
            </a:r>
          </a:p>
        </p:txBody>
      </p:sp>
      <p:sp>
        <p:nvSpPr>
          <p:cNvPr id="5" name="Text Placeholder 4">
            <a:extLst>
              <a:ext uri="{FF2B5EF4-FFF2-40B4-BE49-F238E27FC236}">
                <a16:creationId xmlns:a16="http://schemas.microsoft.com/office/drawing/2014/main" id="{B2AA6339-3C01-D888-A451-DDE58077D8F9}"/>
              </a:ext>
            </a:extLst>
          </p:cNvPr>
          <p:cNvSpPr>
            <a:spLocks noGrp="1"/>
          </p:cNvSpPr>
          <p:nvPr>
            <p:ph type="body" sz="quarter" idx="12"/>
          </p:nvPr>
        </p:nvSpPr>
        <p:spPr/>
        <p:txBody>
          <a:bodyPr/>
          <a:lstStyle/>
          <a:p>
            <a:r>
              <a:rPr lang="fr-LU"/>
              <a:t>CFL cargo : </a:t>
            </a:r>
            <a:r>
              <a:rPr lang="fr-LU" err="1"/>
              <a:t>Fully</a:t>
            </a:r>
            <a:r>
              <a:rPr lang="fr-LU"/>
              <a:t> </a:t>
            </a:r>
            <a:r>
              <a:rPr lang="fr-LU" err="1"/>
              <a:t>integrated</a:t>
            </a:r>
            <a:r>
              <a:rPr lang="fr-LU"/>
              <a:t> railway service provider </a:t>
            </a:r>
            <a:r>
              <a:rPr lang="fr-LU" sz="1213">
                <a:solidFill>
                  <a:srgbClr val="FF0000"/>
                </a:solidFill>
                <a:hlinkClick r:id="rId2"/>
              </a:rPr>
              <a:t>https://www.cfl-mm.lu/fr-fr/organisation/cfl-cargo/</a:t>
            </a:r>
            <a:endParaRPr lang="fr-LU">
              <a:solidFill>
                <a:srgbClr val="FF0000"/>
              </a:solidFill>
            </a:endParaRPr>
          </a:p>
        </p:txBody>
      </p:sp>
      <p:pic>
        <p:nvPicPr>
          <p:cNvPr id="6" name="Picture 5">
            <a:extLst>
              <a:ext uri="{FF2B5EF4-FFF2-40B4-BE49-F238E27FC236}">
                <a16:creationId xmlns:a16="http://schemas.microsoft.com/office/drawing/2014/main" id="{609BC51A-948B-9A19-EA40-3FCADFAAE91C}"/>
              </a:ext>
            </a:extLst>
          </p:cNvPr>
          <p:cNvPicPr>
            <a:picLocks noChangeAspect="1"/>
          </p:cNvPicPr>
          <p:nvPr/>
        </p:nvPicPr>
        <p:blipFill rotWithShape="1">
          <a:blip r:embed="rId3"/>
          <a:srcRect t="1485" b="24317"/>
          <a:stretch/>
        </p:blipFill>
        <p:spPr>
          <a:xfrm>
            <a:off x="619819" y="1150993"/>
            <a:ext cx="5676687" cy="4963021"/>
          </a:xfrm>
          <a:prstGeom prst="rect">
            <a:avLst/>
          </a:prstGeom>
          <a:ln>
            <a:solidFill>
              <a:srgbClr val="C00000"/>
            </a:solidFill>
          </a:ln>
        </p:spPr>
      </p:pic>
      <p:pic>
        <p:nvPicPr>
          <p:cNvPr id="7" name="Picture 6">
            <a:extLst>
              <a:ext uri="{FF2B5EF4-FFF2-40B4-BE49-F238E27FC236}">
                <a16:creationId xmlns:a16="http://schemas.microsoft.com/office/drawing/2014/main" id="{E1D0910E-B2EB-D54C-C78B-0304D808A771}"/>
              </a:ext>
            </a:extLst>
          </p:cNvPr>
          <p:cNvPicPr>
            <a:picLocks noChangeAspect="1"/>
          </p:cNvPicPr>
          <p:nvPr/>
        </p:nvPicPr>
        <p:blipFill rotWithShape="1">
          <a:blip r:embed="rId4"/>
          <a:srcRect t="25014" b="5675"/>
          <a:stretch/>
        </p:blipFill>
        <p:spPr>
          <a:xfrm>
            <a:off x="6290340" y="1150993"/>
            <a:ext cx="5295631" cy="4963021"/>
          </a:xfrm>
          <a:prstGeom prst="rect">
            <a:avLst/>
          </a:prstGeom>
          <a:ln>
            <a:solidFill>
              <a:srgbClr val="C00000"/>
            </a:solidFill>
          </a:ln>
        </p:spPr>
      </p:pic>
    </p:spTree>
    <p:extLst>
      <p:ext uri="{BB962C8B-B14F-4D97-AF65-F5344CB8AC3E}">
        <p14:creationId xmlns:p14="http://schemas.microsoft.com/office/powerpoint/2010/main" val="2454845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182638" y="0"/>
            <a:ext cx="9009363" cy="917441"/>
            <a:chOff x="0" y="0"/>
            <a:chExt cx="5113054" cy="553293"/>
          </a:xfrm>
        </p:grpSpPr>
        <p:sp>
          <p:nvSpPr>
            <p:cNvPr id="3" name="Freeform 3"/>
            <p:cNvSpPr/>
            <p:nvPr/>
          </p:nvSpPr>
          <p:spPr>
            <a:xfrm>
              <a:off x="0" y="0"/>
              <a:ext cx="5113054" cy="553293"/>
            </a:xfrm>
            <a:custGeom>
              <a:avLst/>
              <a:gdLst/>
              <a:ahLst/>
              <a:cxnLst/>
              <a:rect l="l" t="t" r="r" b="b"/>
              <a:pathLst>
                <a:path w="5113054" h="553293">
                  <a:moveTo>
                    <a:pt x="0" y="0"/>
                  </a:moveTo>
                  <a:lnTo>
                    <a:pt x="5113054" y="0"/>
                  </a:lnTo>
                  <a:lnTo>
                    <a:pt x="5113054" y="553293"/>
                  </a:lnTo>
                  <a:lnTo>
                    <a:pt x="0" y="553293"/>
                  </a:lnTo>
                  <a:close/>
                </a:path>
              </a:pathLst>
            </a:custGeom>
            <a:solidFill>
              <a:srgbClr val="AECA13"/>
            </a:solidFill>
          </p:spPr>
        </p:sp>
        <p:sp>
          <p:nvSpPr>
            <p:cNvPr id="4" name="TextBox 4"/>
            <p:cNvSpPr txBox="1"/>
            <p:nvPr/>
          </p:nvSpPr>
          <p:spPr>
            <a:xfrm>
              <a:off x="0" y="-152400"/>
              <a:ext cx="812800" cy="965200"/>
            </a:xfrm>
            <a:prstGeom prst="rect">
              <a:avLst/>
            </a:prstGeom>
          </p:spPr>
          <p:txBody>
            <a:bodyPr lIns="34637" tIns="34637" rIns="34637" bIns="34637" rtlCol="0" anchor="ctr"/>
            <a:lstStyle/>
            <a:p>
              <a:pPr algn="ctr">
                <a:lnSpc>
                  <a:spcPts val="3054"/>
                </a:lnSpc>
              </a:pPr>
              <a:endParaRPr sz="1200"/>
            </a:p>
            <a:p>
              <a:pPr algn="ctr">
                <a:lnSpc>
                  <a:spcPts val="3054"/>
                </a:lnSpc>
              </a:pPr>
              <a:endParaRPr sz="1200"/>
            </a:p>
          </p:txBody>
        </p:sp>
      </p:grpSp>
      <p:grpSp>
        <p:nvGrpSpPr>
          <p:cNvPr id="5" name="Group 5"/>
          <p:cNvGrpSpPr/>
          <p:nvPr/>
        </p:nvGrpSpPr>
        <p:grpSpPr>
          <a:xfrm>
            <a:off x="3294946" y="5940559"/>
            <a:ext cx="8897054" cy="912821"/>
            <a:chOff x="0" y="0"/>
            <a:chExt cx="4968335" cy="646296"/>
          </a:xfrm>
        </p:grpSpPr>
        <p:sp>
          <p:nvSpPr>
            <p:cNvPr id="6" name="Freeform 6"/>
            <p:cNvSpPr/>
            <p:nvPr/>
          </p:nvSpPr>
          <p:spPr>
            <a:xfrm>
              <a:off x="0" y="0"/>
              <a:ext cx="4968335" cy="646296"/>
            </a:xfrm>
            <a:custGeom>
              <a:avLst/>
              <a:gdLst/>
              <a:ahLst/>
              <a:cxnLst/>
              <a:rect l="l" t="t" r="r" b="b"/>
              <a:pathLst>
                <a:path w="4968335" h="646296">
                  <a:moveTo>
                    <a:pt x="0" y="0"/>
                  </a:moveTo>
                  <a:lnTo>
                    <a:pt x="4968335" y="0"/>
                  </a:lnTo>
                  <a:lnTo>
                    <a:pt x="4968335" y="646296"/>
                  </a:lnTo>
                  <a:lnTo>
                    <a:pt x="0" y="646296"/>
                  </a:lnTo>
                  <a:close/>
                </a:path>
              </a:pathLst>
            </a:custGeom>
            <a:solidFill>
              <a:srgbClr val="AECA13"/>
            </a:solidFill>
          </p:spPr>
        </p:sp>
        <p:sp>
          <p:nvSpPr>
            <p:cNvPr id="7" name="TextBox 7"/>
            <p:cNvSpPr txBox="1"/>
            <p:nvPr/>
          </p:nvSpPr>
          <p:spPr>
            <a:xfrm>
              <a:off x="0" y="-28575"/>
              <a:ext cx="812800" cy="841375"/>
            </a:xfrm>
            <a:prstGeom prst="rect">
              <a:avLst/>
            </a:prstGeom>
          </p:spPr>
          <p:txBody>
            <a:bodyPr lIns="34637" tIns="34637" rIns="34637" bIns="34637" rtlCol="0" anchor="ctr"/>
            <a:lstStyle/>
            <a:p>
              <a:pPr>
                <a:lnSpc>
                  <a:spcPts val="1527"/>
                </a:lnSpc>
              </a:pPr>
              <a:endParaRPr sz="1200"/>
            </a:p>
          </p:txBody>
        </p:sp>
      </p:grpSp>
      <p:grpSp>
        <p:nvGrpSpPr>
          <p:cNvPr id="8" name="Group 8"/>
          <p:cNvGrpSpPr/>
          <p:nvPr/>
        </p:nvGrpSpPr>
        <p:grpSpPr>
          <a:xfrm>
            <a:off x="3568408" y="142688"/>
            <a:ext cx="8342941" cy="6572625"/>
            <a:chOff x="0" y="0"/>
            <a:chExt cx="4265382" cy="3360296"/>
          </a:xfrm>
        </p:grpSpPr>
        <p:sp>
          <p:nvSpPr>
            <p:cNvPr id="9" name="Freeform 9"/>
            <p:cNvSpPr/>
            <p:nvPr/>
          </p:nvSpPr>
          <p:spPr>
            <a:xfrm>
              <a:off x="0" y="0"/>
              <a:ext cx="4265382" cy="3360296"/>
            </a:xfrm>
            <a:custGeom>
              <a:avLst/>
              <a:gdLst/>
              <a:ahLst/>
              <a:cxnLst/>
              <a:rect l="l" t="t" r="r" b="b"/>
              <a:pathLst>
                <a:path w="4265382" h="3360296">
                  <a:moveTo>
                    <a:pt x="0" y="0"/>
                  </a:moveTo>
                  <a:lnTo>
                    <a:pt x="4265382" y="0"/>
                  </a:lnTo>
                  <a:lnTo>
                    <a:pt x="4265382" y="3360296"/>
                  </a:lnTo>
                  <a:lnTo>
                    <a:pt x="0" y="3360296"/>
                  </a:lnTo>
                  <a:close/>
                </a:path>
              </a:pathLst>
            </a:custGeom>
            <a:solidFill>
              <a:srgbClr val="FFFFFF"/>
            </a:solidFill>
            <a:ln w="9525">
              <a:solidFill>
                <a:srgbClr val="947F57"/>
              </a:solidFill>
            </a:ln>
          </p:spPr>
        </p:sp>
        <p:sp>
          <p:nvSpPr>
            <p:cNvPr id="10" name="TextBox 10"/>
            <p:cNvSpPr txBox="1"/>
            <p:nvPr/>
          </p:nvSpPr>
          <p:spPr>
            <a:xfrm>
              <a:off x="0" y="-28575"/>
              <a:ext cx="812800" cy="841375"/>
            </a:xfrm>
            <a:prstGeom prst="rect">
              <a:avLst/>
            </a:prstGeom>
          </p:spPr>
          <p:txBody>
            <a:bodyPr lIns="34637" tIns="34637" rIns="34637" bIns="34637" rtlCol="0" anchor="ctr"/>
            <a:lstStyle/>
            <a:p>
              <a:pPr algn="ctr">
                <a:lnSpc>
                  <a:spcPts val="1145"/>
                </a:lnSpc>
              </a:pPr>
              <a:endParaRPr sz="1200"/>
            </a:p>
          </p:txBody>
        </p:sp>
      </p:grpSp>
      <p:graphicFrame>
        <p:nvGraphicFramePr>
          <p:cNvPr id="11" name="Table 11"/>
          <p:cNvGraphicFramePr>
            <a:graphicFrameLocks noGrp="1"/>
          </p:cNvGraphicFramePr>
          <p:nvPr/>
        </p:nvGraphicFramePr>
        <p:xfrm>
          <a:off x="3722270" y="1692196"/>
          <a:ext cx="8058159" cy="4667923"/>
        </p:xfrm>
        <a:graphic>
          <a:graphicData uri="http://schemas.openxmlformats.org/drawingml/2006/table">
            <a:tbl>
              <a:tblPr/>
              <a:tblGrid>
                <a:gridCol w="1444941">
                  <a:extLst>
                    <a:ext uri="{9D8B030D-6E8A-4147-A177-3AD203B41FA5}">
                      <a16:colId xmlns:a16="http://schemas.microsoft.com/office/drawing/2014/main" val="20000"/>
                    </a:ext>
                  </a:extLst>
                </a:gridCol>
                <a:gridCol w="4024211">
                  <a:extLst>
                    <a:ext uri="{9D8B030D-6E8A-4147-A177-3AD203B41FA5}">
                      <a16:colId xmlns:a16="http://schemas.microsoft.com/office/drawing/2014/main" val="20001"/>
                    </a:ext>
                  </a:extLst>
                </a:gridCol>
                <a:gridCol w="2589007">
                  <a:extLst>
                    <a:ext uri="{9D8B030D-6E8A-4147-A177-3AD203B41FA5}">
                      <a16:colId xmlns:a16="http://schemas.microsoft.com/office/drawing/2014/main" val="20002"/>
                    </a:ext>
                  </a:extLst>
                </a:gridCol>
              </a:tblGrid>
              <a:tr h="599099">
                <a:tc>
                  <a:txBody>
                    <a:bodyPr/>
                    <a:lstStyle/>
                    <a:p>
                      <a:pPr algn="l">
                        <a:defRPr/>
                      </a:pPr>
                      <a:r>
                        <a:rPr lang="en-US" sz="1900" spc="70">
                          <a:solidFill>
                            <a:srgbClr val="FFFFFF"/>
                          </a:solidFill>
                          <a:latin typeface="Myriad Pro 1"/>
                        </a:rPr>
                        <a:t>Time</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a:txBody>
                    <a:bodyPr/>
                    <a:lstStyle/>
                    <a:p>
                      <a:pPr algn="l">
                        <a:defRPr/>
                      </a:pPr>
                      <a:r>
                        <a:rPr lang="en-US" sz="1900" spc="70">
                          <a:solidFill>
                            <a:srgbClr val="FFFFFF"/>
                          </a:solidFill>
                          <a:latin typeface="Myriad Pro 1"/>
                        </a:rPr>
                        <a:t>Description</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a:txBody>
                    <a:bodyPr/>
                    <a:lstStyle/>
                    <a:p>
                      <a:pPr algn="l">
                        <a:defRPr/>
                      </a:pPr>
                      <a:r>
                        <a:rPr lang="en-US" sz="1900" spc="70">
                          <a:solidFill>
                            <a:srgbClr val="FFFFFF"/>
                          </a:solidFill>
                          <a:latin typeface="Myriad Pro 1"/>
                        </a:rPr>
                        <a:t>Speaker</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0"/>
                  </a:ext>
                </a:extLst>
              </a:tr>
              <a:tr h="594783">
                <a:tc>
                  <a:txBody>
                    <a:bodyPr/>
                    <a:lstStyle/>
                    <a:p>
                      <a:pPr algn="l">
                        <a:defRPr/>
                      </a:pPr>
                      <a:r>
                        <a:rPr lang="en-US" sz="1800" spc="65">
                          <a:solidFill>
                            <a:srgbClr val="3D3D3D"/>
                          </a:solidFill>
                          <a:latin typeface="Myriad Pro 2"/>
                        </a:rPr>
                        <a:t>09.30 - 09.4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Introduction to the day</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2300" spc="85">
                          <a:solidFill>
                            <a:srgbClr val="3D3D3D"/>
                          </a:solidFill>
                          <a:latin typeface="Myriad Pro 2"/>
                        </a:rPr>
                        <a:t>ERA</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1"/>
                  </a:ext>
                </a:extLst>
              </a:tr>
              <a:tr h="718297">
                <a:tc gridSpan="3">
                  <a:txBody>
                    <a:bodyPr/>
                    <a:lstStyle/>
                    <a:p>
                      <a:pPr algn="l">
                        <a:defRPr/>
                      </a:pPr>
                      <a:r>
                        <a:rPr lang="en-US" sz="1800" kern="1200" spc="65">
                          <a:solidFill>
                            <a:srgbClr val="FFFFFF"/>
                          </a:solidFill>
                          <a:latin typeface="Myriad Pro 2"/>
                          <a:ea typeface="+mn-ea"/>
                          <a:cs typeface="+mn-cs"/>
                        </a:rPr>
                        <a:t>Session 4 | How are workload and Fatigue managed? </a:t>
                      </a:r>
                    </a:p>
                    <a:p>
                      <a:r>
                        <a:rPr lang="en-US" sz="1800" spc="65">
                          <a:solidFill>
                            <a:srgbClr val="FFFFFF"/>
                          </a:solidFill>
                          <a:latin typeface="Myriad Pro 2"/>
                        </a:rPr>
                        <a:t>                   Railway undertakings’ perspective</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a:t>Session 4 | How are workload and Fatigue managed? </a:t>
                      </a:r>
                    </a:p>
                    <a:p>
                      <a:r>
                        <a:rPr lang="en-US" sz="2630" spc="65">
                          <a:solidFill>
                            <a:srgbClr val="FFFFFF"/>
                          </a:solidFill>
                          <a:latin typeface="Myriad Pro 2"/>
                        </a:rPr>
                        <a:t>                   Railway undertakings’ perspective</a:t>
                      </a:r>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a:t>Session 4 | How are workload and Fatigue managed? </a:t>
                      </a:r>
                    </a:p>
                    <a:p>
                      <a:r>
                        <a:rPr lang="en-US" sz="2630" spc="65">
                          <a:solidFill>
                            <a:srgbClr val="FFFFFF"/>
                          </a:solidFill>
                          <a:latin typeface="Myriad Pro 2"/>
                        </a:rPr>
                        <a:t>                   Railway undertakings’ perspective</a:t>
                      </a:r>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2"/>
                  </a:ext>
                </a:extLst>
              </a:tr>
              <a:tr h="718297">
                <a:tc>
                  <a:txBody>
                    <a:bodyPr/>
                    <a:lstStyle/>
                    <a:p>
                      <a:pPr algn="l">
                        <a:defRPr/>
                      </a:pPr>
                      <a:r>
                        <a:rPr lang="en-US" sz="1800" spc="65">
                          <a:solidFill>
                            <a:srgbClr val="3D3D3D"/>
                          </a:solidFill>
                          <a:latin typeface="Myriad Pro 2"/>
                        </a:rPr>
                        <a:t>09.40 - 10.2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Human Factors &amp; Workload management @ DB Regio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kern="1200" spc="65">
                          <a:solidFill>
                            <a:srgbClr val="3D3D3D"/>
                          </a:solidFill>
                          <a:latin typeface="Myriad Pro 2"/>
                          <a:ea typeface="+mn-ea"/>
                          <a:cs typeface="+mn-cs"/>
                        </a:rPr>
                        <a:t>Ole </a:t>
                      </a:r>
                      <a:r>
                        <a:rPr lang="en-US" sz="1800" kern="1200" spc="65" err="1">
                          <a:solidFill>
                            <a:srgbClr val="3D3D3D"/>
                          </a:solidFill>
                          <a:latin typeface="Myriad Pro 2"/>
                          <a:ea typeface="+mn-ea"/>
                          <a:cs typeface="+mn-cs"/>
                        </a:rPr>
                        <a:t>Kroczek</a:t>
                      </a:r>
                      <a:r>
                        <a:rPr lang="en-US" sz="1800" kern="1200" spc="65">
                          <a:solidFill>
                            <a:srgbClr val="3D3D3D"/>
                          </a:solidFill>
                          <a:latin typeface="Myriad Pro 2"/>
                          <a:ea typeface="+mn-ea"/>
                          <a:cs typeface="+mn-cs"/>
                        </a:rPr>
                        <a:t> | </a:t>
                      </a:r>
                    </a:p>
                    <a:p>
                      <a:r>
                        <a:rPr lang="en-US" sz="1800" spc="65">
                          <a:solidFill>
                            <a:srgbClr val="3D3D3D"/>
                          </a:solidFill>
                          <a:latin typeface="Myriad Pro 2"/>
                        </a:rPr>
                        <a:t>DB </a:t>
                      </a:r>
                      <a:r>
                        <a:rPr lang="en-US" sz="1800" kern="1200" spc="65">
                          <a:solidFill>
                            <a:srgbClr val="3D3D3D"/>
                          </a:solidFill>
                          <a:latin typeface="Myriad Pro 2"/>
                          <a:ea typeface="+mn-ea"/>
                          <a:cs typeface="+mn-cs"/>
                        </a:rPr>
                        <a:t>Regio</a:t>
                      </a:r>
                      <a:r>
                        <a:rPr lang="en-US" sz="1800" spc="65">
                          <a:solidFill>
                            <a:srgbClr val="3D3D3D"/>
                          </a:solidFill>
                          <a:latin typeface="Myriad Pro 2"/>
                        </a:rPr>
                        <a:t> AG </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3"/>
                  </a:ext>
                </a:extLst>
              </a:tr>
              <a:tr h="688039">
                <a:tc gridSpan="3">
                  <a:txBody>
                    <a:bodyPr/>
                    <a:lstStyle/>
                    <a:p>
                      <a:pPr algn="l">
                        <a:defRPr/>
                      </a:pPr>
                      <a:r>
                        <a:rPr lang="en-US" sz="1800" kern="1200" spc="65">
                          <a:solidFill>
                            <a:srgbClr val="FFFFFF"/>
                          </a:solidFill>
                          <a:latin typeface="Myriad Pro 2"/>
                          <a:ea typeface="+mn-ea"/>
                          <a:cs typeface="+mn-cs"/>
                        </a:rPr>
                        <a:t>Session 5 | How are workload and fatigue managed? </a:t>
                      </a:r>
                    </a:p>
                    <a:p>
                      <a:r>
                        <a:rPr lang="en-US" sz="1800" spc="65">
                          <a:solidFill>
                            <a:srgbClr val="FFFFFF"/>
                          </a:solidFill>
                          <a:latin typeface="Myriad Pro 2"/>
                        </a:rPr>
                        <a:t>                   ECM’s perspective</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a:t>Session 5 | How are workload and fatigue managed? </a:t>
                      </a:r>
                    </a:p>
                    <a:p>
                      <a:r>
                        <a:rPr lang="en-US" sz="2630" spc="65">
                          <a:solidFill>
                            <a:srgbClr val="FFFFFF"/>
                          </a:solidFill>
                          <a:latin typeface="Myriad Pro 2"/>
                        </a:rPr>
                        <a:t>                   ECM’s perspective</a:t>
                      </a:r>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a:t>Session 5 | How are workload and fatigue managed? </a:t>
                      </a:r>
                    </a:p>
                    <a:p>
                      <a:r>
                        <a:rPr lang="en-US" sz="2630" spc="65">
                          <a:solidFill>
                            <a:srgbClr val="FFFFFF"/>
                          </a:solidFill>
                          <a:latin typeface="Myriad Pro 2"/>
                        </a:rPr>
                        <a:t>                   ECM’s perspective</a:t>
                      </a:r>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4"/>
                  </a:ext>
                </a:extLst>
              </a:tr>
              <a:tr h="718297">
                <a:tc>
                  <a:txBody>
                    <a:bodyPr/>
                    <a:lstStyle/>
                    <a:p>
                      <a:pPr algn="l">
                        <a:defRPr/>
                      </a:pPr>
                      <a:r>
                        <a:rPr lang="en-US" sz="1800" spc="65">
                          <a:solidFill>
                            <a:srgbClr val="3D3D3D"/>
                          </a:solidFill>
                          <a:latin typeface="Myriad Pro 2"/>
                        </a:rPr>
                        <a:t>10.20 - 11.0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Human and Organisational Factors in Maintenance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kern="1200" spc="65">
                          <a:solidFill>
                            <a:srgbClr val="3D3D3D"/>
                          </a:solidFill>
                          <a:latin typeface="Myriad Pro 2"/>
                          <a:ea typeface="+mn-ea"/>
                          <a:cs typeface="+mn-cs"/>
                        </a:rPr>
                        <a:t>Geoffrey </a:t>
                      </a:r>
                      <a:r>
                        <a:rPr lang="en-US" sz="1800" kern="1200" spc="65" err="1">
                          <a:solidFill>
                            <a:srgbClr val="3D3D3D"/>
                          </a:solidFill>
                          <a:latin typeface="Myriad Pro 2"/>
                          <a:ea typeface="+mn-ea"/>
                          <a:cs typeface="+mn-cs"/>
                        </a:rPr>
                        <a:t>Tresontani</a:t>
                      </a:r>
                      <a:r>
                        <a:rPr lang="en-US" sz="1800" kern="1200" spc="65">
                          <a:solidFill>
                            <a:srgbClr val="3D3D3D"/>
                          </a:solidFill>
                          <a:latin typeface="Myriad Pro 2"/>
                          <a:ea typeface="+mn-ea"/>
                          <a:cs typeface="+mn-cs"/>
                        </a:rPr>
                        <a:t> |</a:t>
                      </a:r>
                    </a:p>
                    <a:p>
                      <a:r>
                        <a:rPr lang="en-US" sz="1800" spc="65">
                          <a:solidFill>
                            <a:srgbClr val="3D3D3D"/>
                          </a:solidFill>
                          <a:latin typeface="Myriad Pro 2"/>
                        </a:rPr>
                        <a:t>CFL Cargo  </a:t>
                      </a:r>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5"/>
                  </a:ext>
                </a:extLst>
              </a:tr>
              <a:tr h="616294">
                <a:tc>
                  <a:txBody>
                    <a:bodyPr/>
                    <a:lstStyle/>
                    <a:p>
                      <a:pPr algn="l">
                        <a:defRPr/>
                      </a:pPr>
                      <a:r>
                        <a:rPr lang="en-US" sz="1800" spc="65">
                          <a:solidFill>
                            <a:srgbClr val="060210"/>
                          </a:solidFill>
                          <a:latin typeface="Myriad Pro 2"/>
                        </a:rPr>
                        <a:t>11.00 - 11.2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a:txBody>
                    <a:bodyPr/>
                    <a:lstStyle/>
                    <a:p>
                      <a:pPr algn="l">
                        <a:defRPr/>
                      </a:pPr>
                      <a:r>
                        <a:rPr lang="en-US" sz="1800" spc="65">
                          <a:solidFill>
                            <a:srgbClr val="060210"/>
                          </a:solidFill>
                          <a:latin typeface="Myriad Pro 2"/>
                        </a:rPr>
                        <a:t>Break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a:txBody>
                    <a:bodyPr/>
                    <a:lstStyle/>
                    <a:p>
                      <a:endParaRPr lang="en-US" sz="12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extLst>
                  <a:ext uri="{0D108BD9-81ED-4DB2-BD59-A6C34878D82A}">
                    <a16:rowId xmlns:a16="http://schemas.microsoft.com/office/drawing/2014/main" val="10006"/>
                  </a:ext>
                </a:extLst>
              </a:tr>
            </a:tbl>
          </a:graphicData>
        </a:graphic>
      </p:graphicFrame>
      <p:sp>
        <p:nvSpPr>
          <p:cNvPr id="12" name="AutoShape 12"/>
          <p:cNvSpPr/>
          <p:nvPr/>
        </p:nvSpPr>
        <p:spPr>
          <a:xfrm>
            <a:off x="3710799" y="917441"/>
            <a:ext cx="8058161" cy="0"/>
          </a:xfrm>
          <a:prstGeom prst="line">
            <a:avLst/>
          </a:prstGeom>
          <a:ln w="47625" cap="flat">
            <a:solidFill>
              <a:srgbClr val="060210"/>
            </a:solidFill>
            <a:prstDash val="solid"/>
            <a:headEnd type="none" w="sm" len="sm"/>
            <a:tailEnd type="none" w="sm" len="sm"/>
          </a:ln>
        </p:spPr>
      </p:sp>
      <p:sp>
        <p:nvSpPr>
          <p:cNvPr id="13" name="TextBox 13"/>
          <p:cNvSpPr txBox="1"/>
          <p:nvPr/>
        </p:nvSpPr>
        <p:spPr>
          <a:xfrm>
            <a:off x="3752201" y="249330"/>
            <a:ext cx="7858459" cy="515910"/>
          </a:xfrm>
          <a:prstGeom prst="rect">
            <a:avLst/>
          </a:prstGeom>
        </p:spPr>
        <p:txBody>
          <a:bodyPr lIns="0" tIns="0" rIns="0" bIns="0" rtlCol="0" anchor="t">
            <a:spAutoFit/>
          </a:bodyPr>
          <a:lstStyle/>
          <a:p>
            <a:pPr>
              <a:lnSpc>
                <a:spcPts val="4446"/>
              </a:lnSpc>
              <a:spcBef>
                <a:spcPct val="0"/>
              </a:spcBef>
            </a:pPr>
            <a:r>
              <a:rPr lang="en-US" sz="3175" spc="139">
                <a:solidFill>
                  <a:srgbClr val="060210"/>
                </a:solidFill>
                <a:latin typeface="Myriad Pro 2"/>
              </a:rPr>
              <a:t>AGENDA | 7 DECEMBER | 09.30- 11.20</a:t>
            </a:r>
          </a:p>
        </p:txBody>
      </p:sp>
      <p:pic>
        <p:nvPicPr>
          <p:cNvPr id="14" name="Picture 14"/>
          <p:cNvPicPr>
            <a:picLocks noChangeAspect="1"/>
          </p:cNvPicPr>
          <p:nvPr/>
        </p:nvPicPr>
        <p:blipFill>
          <a:blip r:embed="rId2"/>
          <a:srcRect/>
          <a:stretch>
            <a:fillRect/>
          </a:stretch>
        </p:blipFill>
        <p:spPr>
          <a:xfrm>
            <a:off x="0" y="1643308"/>
            <a:ext cx="3568408" cy="3571384"/>
          </a:xfrm>
          <a:prstGeom prst="rect">
            <a:avLst/>
          </a:prstGeom>
        </p:spPr>
      </p:pic>
    </p:spTree>
    <p:extLst>
      <p:ext uri="{BB962C8B-B14F-4D97-AF65-F5344CB8AC3E}">
        <p14:creationId xmlns:p14="http://schemas.microsoft.com/office/powerpoint/2010/main" val="34778080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CBF7D18-B02B-F32F-456C-2C7E756BFA8F}"/>
              </a:ext>
            </a:extLst>
          </p:cNvPr>
          <p:cNvSpPr>
            <a:spLocks noGrp="1"/>
          </p:cNvSpPr>
          <p:nvPr>
            <p:ph type="body" sz="quarter" idx="14"/>
          </p:nvPr>
        </p:nvSpPr>
        <p:spPr/>
        <p:txBody>
          <a:bodyPr/>
          <a:lstStyle/>
          <a:p>
            <a:endParaRPr lang="fr-LU"/>
          </a:p>
        </p:txBody>
      </p:sp>
      <p:sp>
        <p:nvSpPr>
          <p:cNvPr id="4" name="Content Placeholder 3">
            <a:extLst>
              <a:ext uri="{FF2B5EF4-FFF2-40B4-BE49-F238E27FC236}">
                <a16:creationId xmlns:a16="http://schemas.microsoft.com/office/drawing/2014/main" id="{8ACF9ABC-A1A3-5E83-07E1-479EC9037DDB}"/>
              </a:ext>
            </a:extLst>
          </p:cNvPr>
          <p:cNvSpPr>
            <a:spLocks noGrp="1"/>
          </p:cNvSpPr>
          <p:nvPr>
            <p:ph sz="half" idx="10"/>
          </p:nvPr>
        </p:nvSpPr>
        <p:spPr/>
        <p:txBody>
          <a:bodyPr/>
          <a:lstStyle/>
          <a:p>
            <a:pPr marL="277246" indent="-277246">
              <a:buFont typeface="Arial" panose="020B0604020202020204" pitchFamily="34" charset="0"/>
              <a:buChar char="•"/>
            </a:pPr>
            <a:r>
              <a:rPr lang="fr-LU"/>
              <a:t>CFL cargo ‘s ROLLING STOCK ORGANISATION</a:t>
            </a:r>
          </a:p>
          <a:p>
            <a:endParaRPr lang="fr-LU"/>
          </a:p>
          <a:p>
            <a:pPr marL="277246" indent="-277246">
              <a:buFont typeface="Arial" panose="020B0604020202020204" pitchFamily="34" charset="0"/>
              <a:buChar char="•"/>
            </a:pPr>
            <a:r>
              <a:rPr lang="fr-LU"/>
              <a:t>MAINTENANCE SYSTEM … HEAD AND ARMS</a:t>
            </a:r>
          </a:p>
          <a:p>
            <a:endParaRPr lang="fr-LU"/>
          </a:p>
          <a:p>
            <a:pPr marL="277246" indent="-277246">
              <a:buFont typeface="Arial" panose="020B0604020202020204" pitchFamily="34" charset="0"/>
              <a:buChar char="•"/>
            </a:pPr>
            <a:r>
              <a:rPr lang="fr-LU"/>
              <a:t>MAINTENANCE SYSTEM INTERACTIONS</a:t>
            </a:r>
          </a:p>
          <a:p>
            <a:endParaRPr lang="fr-LU"/>
          </a:p>
          <a:p>
            <a:pPr marL="277246" indent="-277246">
              <a:buFont typeface="Arial" panose="020B0604020202020204" pitchFamily="34" charset="0"/>
              <a:buChar char="•"/>
            </a:pPr>
            <a:r>
              <a:rPr lang="fr-LU"/>
              <a:t>MAINTENANCE SYSTEM PERFORMANCE</a:t>
            </a:r>
          </a:p>
          <a:p>
            <a:endParaRPr lang="fr-LU"/>
          </a:p>
          <a:p>
            <a:pPr marL="277246" indent="-277246">
              <a:buFont typeface="Arial" panose="020B0604020202020204" pitchFamily="34" charset="0"/>
              <a:buChar char="•"/>
            </a:pPr>
            <a:r>
              <a:rPr lang="fr-LU"/>
              <a:t>MAINTENANCE ORGANISATION and HOF</a:t>
            </a:r>
          </a:p>
          <a:p>
            <a:endParaRPr lang="fr-LU"/>
          </a:p>
          <a:p>
            <a:pPr marL="277246" indent="-277246">
              <a:buFont typeface="Arial" panose="020B0604020202020204" pitchFamily="34" charset="0"/>
              <a:buChar char="•"/>
            </a:pPr>
            <a:r>
              <a:rPr lang="fr-LU"/>
              <a:t>FATIGUE and STRESS PRECURSORS</a:t>
            </a:r>
          </a:p>
          <a:p>
            <a:endParaRPr lang="fr-LU"/>
          </a:p>
          <a:p>
            <a:pPr marL="277246" indent="-277246">
              <a:buFont typeface="Arial" panose="020B0604020202020204" pitchFamily="34" charset="0"/>
              <a:buChar char="•"/>
            </a:pPr>
            <a:r>
              <a:rPr lang="fr-LU"/>
              <a:t>FATIGUE and STRESS IMPACTS</a:t>
            </a:r>
          </a:p>
          <a:p>
            <a:endParaRPr lang="fr-LU"/>
          </a:p>
          <a:p>
            <a:pPr marL="277246" indent="-277246">
              <a:buFont typeface="Arial" panose="020B0604020202020204" pitchFamily="34" charset="0"/>
              <a:buChar char="•"/>
            </a:pPr>
            <a:r>
              <a:rPr lang="fr-LU"/>
              <a:t>FATIGUE and WORKLOAD MANAGEMENT</a:t>
            </a:r>
          </a:p>
          <a:p>
            <a:endParaRPr lang="fr-LU"/>
          </a:p>
        </p:txBody>
      </p:sp>
      <p:sp>
        <p:nvSpPr>
          <p:cNvPr id="5" name="Title 4">
            <a:extLst>
              <a:ext uri="{FF2B5EF4-FFF2-40B4-BE49-F238E27FC236}">
                <a16:creationId xmlns:a16="http://schemas.microsoft.com/office/drawing/2014/main" id="{7ADE821F-99CE-49FF-2193-5097649BBF08}"/>
              </a:ext>
            </a:extLst>
          </p:cNvPr>
          <p:cNvSpPr>
            <a:spLocks noGrp="1"/>
          </p:cNvSpPr>
          <p:nvPr>
            <p:ph type="title"/>
          </p:nvPr>
        </p:nvSpPr>
        <p:spPr/>
        <p:txBody>
          <a:bodyPr/>
          <a:lstStyle/>
          <a:p>
            <a:r>
              <a:rPr lang="fr-LU"/>
              <a:t>Human and </a:t>
            </a:r>
            <a:r>
              <a:rPr lang="fr-LU" err="1"/>
              <a:t>Organisational</a:t>
            </a:r>
            <a:r>
              <a:rPr lang="fr-LU"/>
              <a:t> </a:t>
            </a:r>
            <a:r>
              <a:rPr lang="fr-LU" err="1"/>
              <a:t>Factors</a:t>
            </a:r>
            <a:r>
              <a:rPr lang="fr-LU"/>
              <a:t> in Maintenance</a:t>
            </a:r>
          </a:p>
        </p:txBody>
      </p:sp>
      <p:sp>
        <p:nvSpPr>
          <p:cNvPr id="6" name="Text Placeholder 5">
            <a:extLst>
              <a:ext uri="{FF2B5EF4-FFF2-40B4-BE49-F238E27FC236}">
                <a16:creationId xmlns:a16="http://schemas.microsoft.com/office/drawing/2014/main" id="{76CD22DE-E4FA-7641-3CC1-A04E2A587173}"/>
              </a:ext>
            </a:extLst>
          </p:cNvPr>
          <p:cNvSpPr>
            <a:spLocks noGrp="1"/>
          </p:cNvSpPr>
          <p:nvPr>
            <p:ph type="body" sz="quarter" idx="12"/>
          </p:nvPr>
        </p:nvSpPr>
        <p:spPr/>
        <p:txBody>
          <a:bodyPr/>
          <a:lstStyle/>
          <a:p>
            <a:r>
              <a:rPr lang="fr-LU"/>
              <a:t>Content</a:t>
            </a:r>
          </a:p>
        </p:txBody>
      </p:sp>
      <p:graphicFrame>
        <p:nvGraphicFramePr>
          <p:cNvPr id="7" name="Diagram 6">
            <a:extLst>
              <a:ext uri="{FF2B5EF4-FFF2-40B4-BE49-F238E27FC236}">
                <a16:creationId xmlns:a16="http://schemas.microsoft.com/office/drawing/2014/main" id="{C05E1385-D33E-3AA9-1647-E4898C6AB04E}"/>
              </a:ext>
            </a:extLst>
          </p:cNvPr>
          <p:cNvGraphicFramePr/>
          <p:nvPr/>
        </p:nvGraphicFramePr>
        <p:xfrm>
          <a:off x="2032286" y="719857"/>
          <a:ext cx="8127429" cy="5418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2" name="Picture 4" descr="Le Nouvel Atelier – 15.000 m2 impressionnants | Blog CFL – Société  Nationale des Chemins de Fer Luxembourgeois">
            <a:extLst>
              <a:ext uri="{FF2B5EF4-FFF2-40B4-BE49-F238E27FC236}">
                <a16:creationId xmlns:a16="http://schemas.microsoft.com/office/drawing/2014/main" id="{05FA79D3-9C26-6FEC-35C2-3CBA05C1780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03219" y="846792"/>
            <a:ext cx="3908845" cy="259938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A467DBB3-8A87-A808-6792-C682D4D0922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03219" y="3521327"/>
            <a:ext cx="3908845" cy="2670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4393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F8B4D5-C044-874A-B26B-DCDF28D034D8}"/>
              </a:ext>
            </a:extLst>
          </p:cNvPr>
          <p:cNvSpPr>
            <a:spLocks noGrp="1"/>
          </p:cNvSpPr>
          <p:nvPr>
            <p:ph sz="half" idx="10"/>
          </p:nvPr>
        </p:nvSpPr>
        <p:spPr>
          <a:xfrm>
            <a:off x="613731" y="1150994"/>
            <a:ext cx="11191561" cy="5240267"/>
          </a:xfrm>
        </p:spPr>
        <p:txBody>
          <a:bodyPr/>
          <a:lstStyle/>
          <a:p>
            <a:r>
              <a:rPr lang="fr-LU" b="1">
                <a:sym typeface="Wingdings" panose="05000000000000000000" pitchFamily="2" charset="2"/>
              </a:rPr>
              <a:t> 79</a:t>
            </a:r>
            <a:r>
              <a:rPr lang="fr-LU" b="1"/>
              <a:t> locomotives (29 Elec + 50 Diesel) + ~3300 wagons </a:t>
            </a:r>
            <a:r>
              <a:rPr lang="fr-LU" b="1" err="1"/>
              <a:t>under</a:t>
            </a:r>
            <a:r>
              <a:rPr lang="fr-LU" b="1"/>
              <a:t> supervision, </a:t>
            </a:r>
            <a:r>
              <a:rPr lang="fr-LU" b="1" err="1"/>
              <a:t>we</a:t>
            </a:r>
            <a:r>
              <a:rPr lang="fr-LU" b="1"/>
              <a:t> are ECM for </a:t>
            </a:r>
            <a:r>
              <a:rPr lang="fr-LU" b="1" err="1"/>
              <a:t>wagon’s</a:t>
            </a:r>
            <a:r>
              <a:rPr lang="fr-LU" b="1"/>
              <a:t> </a:t>
            </a:r>
            <a:r>
              <a:rPr lang="fr-LU" b="1" err="1"/>
              <a:t>fleet</a:t>
            </a:r>
            <a:r>
              <a:rPr lang="fr-LU" b="1"/>
              <a:t> (+/- 2500wagons)</a:t>
            </a:r>
          </a:p>
          <a:p>
            <a:endParaRPr lang="fr-LU"/>
          </a:p>
        </p:txBody>
      </p:sp>
      <p:sp>
        <p:nvSpPr>
          <p:cNvPr id="3" name="Text Placeholder 2">
            <a:extLst>
              <a:ext uri="{FF2B5EF4-FFF2-40B4-BE49-F238E27FC236}">
                <a16:creationId xmlns:a16="http://schemas.microsoft.com/office/drawing/2014/main" id="{AB68362E-16CB-6CC6-231D-EE562DBF560E}"/>
              </a:ext>
            </a:extLst>
          </p:cNvPr>
          <p:cNvSpPr>
            <a:spLocks noGrp="1"/>
          </p:cNvSpPr>
          <p:nvPr>
            <p:ph type="body" sz="quarter" idx="13"/>
          </p:nvPr>
        </p:nvSpPr>
        <p:spPr/>
        <p:txBody>
          <a:bodyPr/>
          <a:lstStyle/>
          <a:p>
            <a:endParaRPr lang="fr-LU"/>
          </a:p>
        </p:txBody>
      </p:sp>
      <p:sp>
        <p:nvSpPr>
          <p:cNvPr id="4" name="Title 3">
            <a:extLst>
              <a:ext uri="{FF2B5EF4-FFF2-40B4-BE49-F238E27FC236}">
                <a16:creationId xmlns:a16="http://schemas.microsoft.com/office/drawing/2014/main" id="{1127E8C5-27DA-D886-2B98-C5B7A87974A1}"/>
              </a:ext>
            </a:extLst>
          </p:cNvPr>
          <p:cNvSpPr>
            <a:spLocks noGrp="1"/>
          </p:cNvSpPr>
          <p:nvPr>
            <p:ph type="title"/>
          </p:nvPr>
        </p:nvSpPr>
        <p:spPr/>
        <p:txBody>
          <a:bodyPr/>
          <a:lstStyle/>
          <a:p>
            <a:r>
              <a:rPr lang="fr-LU"/>
              <a:t>CFL cargo ‘s ROLLING STOCK ORGANISATION</a:t>
            </a:r>
          </a:p>
        </p:txBody>
      </p:sp>
      <p:sp>
        <p:nvSpPr>
          <p:cNvPr id="5" name="Text Placeholder 4">
            <a:extLst>
              <a:ext uri="{FF2B5EF4-FFF2-40B4-BE49-F238E27FC236}">
                <a16:creationId xmlns:a16="http://schemas.microsoft.com/office/drawing/2014/main" id="{B2AA6339-3C01-D888-A451-DDE58077D8F9}"/>
              </a:ext>
            </a:extLst>
          </p:cNvPr>
          <p:cNvSpPr>
            <a:spLocks noGrp="1"/>
          </p:cNvSpPr>
          <p:nvPr>
            <p:ph type="body" sz="quarter" idx="12"/>
          </p:nvPr>
        </p:nvSpPr>
        <p:spPr/>
        <p:txBody>
          <a:bodyPr/>
          <a:lstStyle/>
          <a:p>
            <a:r>
              <a:rPr lang="fr-LU"/>
              <a:t>Locomotives and </a:t>
            </a:r>
            <a:r>
              <a:rPr lang="fr-LU" err="1"/>
              <a:t>freight</a:t>
            </a:r>
            <a:r>
              <a:rPr lang="fr-LU"/>
              <a:t> wagons</a:t>
            </a:r>
          </a:p>
        </p:txBody>
      </p:sp>
      <p:pic>
        <p:nvPicPr>
          <p:cNvPr id="43" name="Picture 42">
            <a:extLst>
              <a:ext uri="{FF2B5EF4-FFF2-40B4-BE49-F238E27FC236}">
                <a16:creationId xmlns:a16="http://schemas.microsoft.com/office/drawing/2014/main" id="{78207CFC-C4C3-EDC3-311A-20B60F378C28}"/>
              </a:ext>
            </a:extLst>
          </p:cNvPr>
          <p:cNvPicPr>
            <a:picLocks noChangeAspect="1"/>
          </p:cNvPicPr>
          <p:nvPr/>
        </p:nvPicPr>
        <p:blipFill rotWithShape="1">
          <a:blip r:embed="rId2"/>
          <a:srcRect l="2986" t="12697" r="13246"/>
          <a:stretch/>
        </p:blipFill>
        <p:spPr>
          <a:xfrm>
            <a:off x="879189" y="1434191"/>
            <a:ext cx="10028902" cy="4957070"/>
          </a:xfrm>
          <a:prstGeom prst="rect">
            <a:avLst/>
          </a:prstGeom>
        </p:spPr>
      </p:pic>
      <p:sp>
        <p:nvSpPr>
          <p:cNvPr id="45" name="TextBox 44">
            <a:extLst>
              <a:ext uri="{FF2B5EF4-FFF2-40B4-BE49-F238E27FC236}">
                <a16:creationId xmlns:a16="http://schemas.microsoft.com/office/drawing/2014/main" id="{8B3DEC79-72DD-247B-A209-5E4B9DA55E92}"/>
              </a:ext>
            </a:extLst>
          </p:cNvPr>
          <p:cNvSpPr txBox="1"/>
          <p:nvPr/>
        </p:nvSpPr>
        <p:spPr>
          <a:xfrm>
            <a:off x="8733988" y="2236747"/>
            <a:ext cx="1043027" cy="596510"/>
          </a:xfrm>
          <a:prstGeom prst="rect">
            <a:avLst/>
          </a:prstGeom>
          <a:solidFill>
            <a:schemeClr val="bg1"/>
          </a:solidFill>
        </p:spPr>
        <p:txBody>
          <a:bodyPr wrap="square">
            <a:spAutoFit/>
          </a:bodyPr>
          <a:lstStyle/>
          <a:p>
            <a:pPr algn="ctr" defTabSz="554492"/>
            <a:r>
              <a:rPr lang="fr-LU" sz="1092" b="1">
                <a:solidFill>
                  <a:srgbClr val="58585A"/>
                </a:solidFill>
                <a:latin typeface="Arial"/>
              </a:rPr>
              <a:t>Maintenance Management </a:t>
            </a:r>
            <a:r>
              <a:rPr lang="fr-LU" sz="1092" b="1" err="1">
                <a:solidFill>
                  <a:srgbClr val="58585A"/>
                </a:solidFill>
                <a:latin typeface="Arial"/>
              </a:rPr>
              <a:t>function</a:t>
            </a:r>
            <a:endParaRPr lang="fr-LU" sz="1092" b="1">
              <a:solidFill>
                <a:srgbClr val="58585A"/>
              </a:solidFill>
              <a:latin typeface="Arial"/>
            </a:endParaRPr>
          </a:p>
        </p:txBody>
      </p:sp>
      <p:sp>
        <p:nvSpPr>
          <p:cNvPr id="47" name="TextBox 46">
            <a:extLst>
              <a:ext uri="{FF2B5EF4-FFF2-40B4-BE49-F238E27FC236}">
                <a16:creationId xmlns:a16="http://schemas.microsoft.com/office/drawing/2014/main" id="{45315E73-6349-5F3E-CCDB-78A3519DACAE}"/>
              </a:ext>
            </a:extLst>
          </p:cNvPr>
          <p:cNvSpPr txBox="1"/>
          <p:nvPr/>
        </p:nvSpPr>
        <p:spPr>
          <a:xfrm>
            <a:off x="4195606" y="6354082"/>
            <a:ext cx="1298276" cy="540148"/>
          </a:xfrm>
          <a:prstGeom prst="rect">
            <a:avLst/>
          </a:prstGeom>
          <a:solidFill>
            <a:schemeClr val="bg1"/>
          </a:solidFill>
        </p:spPr>
        <p:txBody>
          <a:bodyPr wrap="square">
            <a:spAutoFit/>
          </a:bodyPr>
          <a:lstStyle/>
          <a:p>
            <a:pPr algn="ctr" defTabSz="554492"/>
            <a:r>
              <a:rPr lang="fr-LU" sz="970" b="1">
                <a:solidFill>
                  <a:srgbClr val="58585A"/>
                </a:solidFill>
                <a:latin typeface="Arial"/>
              </a:rPr>
              <a:t>Maintenance </a:t>
            </a:r>
            <a:r>
              <a:rPr lang="fr-LU" sz="970" b="1" err="1">
                <a:solidFill>
                  <a:srgbClr val="58585A"/>
                </a:solidFill>
                <a:latin typeface="Arial"/>
              </a:rPr>
              <a:t>Development</a:t>
            </a:r>
            <a:r>
              <a:rPr lang="fr-LU" sz="970" b="1">
                <a:solidFill>
                  <a:srgbClr val="58585A"/>
                </a:solidFill>
                <a:latin typeface="Arial"/>
              </a:rPr>
              <a:t> </a:t>
            </a:r>
            <a:r>
              <a:rPr lang="fr-LU" sz="970" b="1" err="1">
                <a:solidFill>
                  <a:srgbClr val="58585A"/>
                </a:solidFill>
                <a:latin typeface="Arial"/>
              </a:rPr>
              <a:t>function</a:t>
            </a:r>
            <a:endParaRPr lang="fr-LU" sz="970" b="1">
              <a:solidFill>
                <a:srgbClr val="58585A"/>
              </a:solidFill>
              <a:latin typeface="Arial"/>
            </a:endParaRPr>
          </a:p>
        </p:txBody>
      </p:sp>
      <p:sp>
        <p:nvSpPr>
          <p:cNvPr id="48" name="TextBox 47">
            <a:extLst>
              <a:ext uri="{FF2B5EF4-FFF2-40B4-BE49-F238E27FC236}">
                <a16:creationId xmlns:a16="http://schemas.microsoft.com/office/drawing/2014/main" id="{1D8AFA1B-AD55-3C45-BFBB-523DFE0A4772}"/>
              </a:ext>
            </a:extLst>
          </p:cNvPr>
          <p:cNvSpPr txBox="1"/>
          <p:nvPr/>
        </p:nvSpPr>
        <p:spPr>
          <a:xfrm>
            <a:off x="5759340" y="6354082"/>
            <a:ext cx="1298276" cy="540148"/>
          </a:xfrm>
          <a:prstGeom prst="rect">
            <a:avLst/>
          </a:prstGeom>
          <a:solidFill>
            <a:schemeClr val="bg1"/>
          </a:solidFill>
        </p:spPr>
        <p:txBody>
          <a:bodyPr wrap="square">
            <a:spAutoFit/>
          </a:bodyPr>
          <a:lstStyle/>
          <a:p>
            <a:pPr algn="ctr" defTabSz="554492"/>
            <a:r>
              <a:rPr lang="fr-LU" sz="970" b="1">
                <a:solidFill>
                  <a:srgbClr val="58585A"/>
                </a:solidFill>
                <a:latin typeface="Arial"/>
              </a:rPr>
              <a:t>Fleet Maintenance Management </a:t>
            </a:r>
            <a:r>
              <a:rPr lang="fr-LU" sz="970" b="1" err="1">
                <a:solidFill>
                  <a:srgbClr val="58585A"/>
                </a:solidFill>
                <a:latin typeface="Arial"/>
              </a:rPr>
              <a:t>function</a:t>
            </a:r>
            <a:endParaRPr lang="fr-LU" sz="970" b="1">
              <a:solidFill>
                <a:srgbClr val="58585A"/>
              </a:solidFill>
              <a:latin typeface="Arial"/>
            </a:endParaRPr>
          </a:p>
        </p:txBody>
      </p:sp>
      <p:sp>
        <p:nvSpPr>
          <p:cNvPr id="49" name="TextBox 48">
            <a:extLst>
              <a:ext uri="{FF2B5EF4-FFF2-40B4-BE49-F238E27FC236}">
                <a16:creationId xmlns:a16="http://schemas.microsoft.com/office/drawing/2014/main" id="{C5C2EEA6-9ABA-A6DC-C751-D7D91978EEBE}"/>
              </a:ext>
            </a:extLst>
          </p:cNvPr>
          <p:cNvSpPr txBox="1"/>
          <p:nvPr/>
        </p:nvSpPr>
        <p:spPr>
          <a:xfrm>
            <a:off x="7391642" y="6354082"/>
            <a:ext cx="1298276" cy="540148"/>
          </a:xfrm>
          <a:prstGeom prst="rect">
            <a:avLst/>
          </a:prstGeom>
          <a:solidFill>
            <a:schemeClr val="bg1"/>
          </a:solidFill>
        </p:spPr>
        <p:txBody>
          <a:bodyPr wrap="square">
            <a:spAutoFit/>
          </a:bodyPr>
          <a:lstStyle/>
          <a:p>
            <a:pPr algn="ctr" defTabSz="554492"/>
            <a:r>
              <a:rPr lang="fr-LU" sz="970" b="1">
                <a:solidFill>
                  <a:srgbClr val="58585A"/>
                </a:solidFill>
                <a:latin typeface="Arial"/>
              </a:rPr>
              <a:t>Maintenance Delivery </a:t>
            </a:r>
          </a:p>
          <a:p>
            <a:pPr algn="ctr" defTabSz="554492"/>
            <a:r>
              <a:rPr lang="fr-LU" sz="970" b="1" err="1">
                <a:solidFill>
                  <a:srgbClr val="58585A"/>
                </a:solidFill>
                <a:latin typeface="Arial"/>
              </a:rPr>
              <a:t>function</a:t>
            </a:r>
            <a:endParaRPr lang="fr-LU" sz="970" b="1">
              <a:solidFill>
                <a:srgbClr val="58585A"/>
              </a:solidFill>
              <a:latin typeface="Arial"/>
            </a:endParaRPr>
          </a:p>
        </p:txBody>
      </p:sp>
    </p:spTree>
    <p:extLst>
      <p:ext uri="{BB962C8B-B14F-4D97-AF65-F5344CB8AC3E}">
        <p14:creationId xmlns:p14="http://schemas.microsoft.com/office/powerpoint/2010/main" val="16477015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6D5242-5FFC-8165-8F3E-83AA0FE8D0C6}"/>
              </a:ext>
            </a:extLst>
          </p:cNvPr>
          <p:cNvSpPr>
            <a:spLocks noGrp="1"/>
          </p:cNvSpPr>
          <p:nvPr>
            <p:ph type="body" sz="quarter" idx="14"/>
          </p:nvPr>
        </p:nvSpPr>
        <p:spPr/>
        <p:txBody>
          <a:bodyPr/>
          <a:lstStyle/>
          <a:p>
            <a:endParaRPr lang="fr-LU"/>
          </a:p>
        </p:txBody>
      </p:sp>
      <p:sp>
        <p:nvSpPr>
          <p:cNvPr id="5" name="Title 4">
            <a:extLst>
              <a:ext uri="{FF2B5EF4-FFF2-40B4-BE49-F238E27FC236}">
                <a16:creationId xmlns:a16="http://schemas.microsoft.com/office/drawing/2014/main" id="{6926D33D-DB1F-B902-829E-3832EB9DD671}"/>
              </a:ext>
            </a:extLst>
          </p:cNvPr>
          <p:cNvSpPr>
            <a:spLocks noGrp="1"/>
          </p:cNvSpPr>
          <p:nvPr>
            <p:ph type="title"/>
          </p:nvPr>
        </p:nvSpPr>
        <p:spPr/>
        <p:txBody>
          <a:bodyPr/>
          <a:lstStyle/>
          <a:p>
            <a:r>
              <a:rPr lang="fr-LU"/>
              <a:t>MAINTENANCE SYSTEM … HEAD AND ARMS</a:t>
            </a:r>
          </a:p>
        </p:txBody>
      </p:sp>
      <p:sp>
        <p:nvSpPr>
          <p:cNvPr id="6" name="Text Placeholder 5">
            <a:extLst>
              <a:ext uri="{FF2B5EF4-FFF2-40B4-BE49-F238E27FC236}">
                <a16:creationId xmlns:a16="http://schemas.microsoft.com/office/drawing/2014/main" id="{9E0778CA-52A4-AE68-B530-AEC1BD16A918}"/>
              </a:ext>
            </a:extLst>
          </p:cNvPr>
          <p:cNvSpPr>
            <a:spLocks noGrp="1"/>
          </p:cNvSpPr>
          <p:nvPr>
            <p:ph type="body" sz="quarter" idx="12"/>
          </p:nvPr>
        </p:nvSpPr>
        <p:spPr/>
        <p:txBody>
          <a:bodyPr/>
          <a:lstStyle/>
          <a:p>
            <a:r>
              <a:rPr lang="fr-LU"/>
              <a:t>How </a:t>
            </a:r>
            <a:r>
              <a:rPr lang="fr-LU" err="1"/>
              <a:t>it’s</a:t>
            </a:r>
            <a:r>
              <a:rPr lang="fr-LU"/>
              <a:t> made … How </a:t>
            </a:r>
            <a:r>
              <a:rPr lang="fr-LU" err="1"/>
              <a:t>we</a:t>
            </a:r>
            <a:r>
              <a:rPr lang="fr-LU"/>
              <a:t> do …</a:t>
            </a:r>
          </a:p>
        </p:txBody>
      </p:sp>
      <p:grpSp>
        <p:nvGrpSpPr>
          <p:cNvPr id="17" name="Group 16">
            <a:extLst>
              <a:ext uri="{FF2B5EF4-FFF2-40B4-BE49-F238E27FC236}">
                <a16:creationId xmlns:a16="http://schemas.microsoft.com/office/drawing/2014/main" id="{991BB871-EE42-9D4D-A6F2-241E7E503B77}"/>
              </a:ext>
            </a:extLst>
          </p:cNvPr>
          <p:cNvGrpSpPr/>
          <p:nvPr/>
        </p:nvGrpSpPr>
        <p:grpSpPr>
          <a:xfrm>
            <a:off x="773800" y="1267930"/>
            <a:ext cx="10564447" cy="4870403"/>
            <a:chOff x="6953877" y="2524050"/>
            <a:chExt cx="11743026" cy="5501206"/>
          </a:xfrm>
        </p:grpSpPr>
        <p:pic>
          <p:nvPicPr>
            <p:cNvPr id="7" name="Picture 6">
              <a:extLst>
                <a:ext uri="{FF2B5EF4-FFF2-40B4-BE49-F238E27FC236}">
                  <a16:creationId xmlns:a16="http://schemas.microsoft.com/office/drawing/2014/main" id="{61C2A1D3-1B42-1411-D86E-48B2C9206CE7}"/>
                </a:ext>
              </a:extLst>
            </p:cNvPr>
            <p:cNvPicPr>
              <a:picLocks noChangeAspect="1"/>
            </p:cNvPicPr>
            <p:nvPr/>
          </p:nvPicPr>
          <p:blipFill rotWithShape="1">
            <a:blip r:embed="rId2"/>
            <a:srcRect l="5040" t="13730" b="-1"/>
            <a:stretch/>
          </p:blipFill>
          <p:spPr>
            <a:xfrm>
              <a:off x="6953877" y="2880175"/>
              <a:ext cx="9963191" cy="4631067"/>
            </a:xfrm>
            <a:prstGeom prst="rect">
              <a:avLst/>
            </a:prstGeom>
          </p:spPr>
        </p:pic>
        <p:sp>
          <p:nvSpPr>
            <p:cNvPr id="8" name="Right Arrow 6">
              <a:extLst>
                <a:ext uri="{FF2B5EF4-FFF2-40B4-BE49-F238E27FC236}">
                  <a16:creationId xmlns:a16="http://schemas.microsoft.com/office/drawing/2014/main" id="{EDEA4248-AC77-2275-E88F-D6D67A9A4326}"/>
                </a:ext>
              </a:extLst>
            </p:cNvPr>
            <p:cNvSpPr/>
            <p:nvPr/>
          </p:nvSpPr>
          <p:spPr>
            <a:xfrm rot="10800000">
              <a:off x="14702540" y="4672361"/>
              <a:ext cx="1293624" cy="624143"/>
            </a:xfrm>
            <a:prstGeom prst="rightArrow">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fr-LU" sz="1092">
                <a:solidFill>
                  <a:srgbClr val="FFFFFF"/>
                </a:solidFill>
                <a:latin typeface="Arial"/>
              </a:endParaRPr>
            </a:p>
          </p:txBody>
        </p:sp>
        <p:pic>
          <p:nvPicPr>
            <p:cNvPr id="9" name="Picture 8">
              <a:extLst>
                <a:ext uri="{FF2B5EF4-FFF2-40B4-BE49-F238E27FC236}">
                  <a16:creationId xmlns:a16="http://schemas.microsoft.com/office/drawing/2014/main" id="{5AC10F97-A254-674F-CCB4-C8992B9AABD8}"/>
                </a:ext>
              </a:extLst>
            </p:cNvPr>
            <p:cNvPicPr>
              <a:picLocks noChangeAspect="1"/>
            </p:cNvPicPr>
            <p:nvPr/>
          </p:nvPicPr>
          <p:blipFill>
            <a:blip r:embed="rId3"/>
            <a:stretch>
              <a:fillRect/>
            </a:stretch>
          </p:blipFill>
          <p:spPr>
            <a:xfrm>
              <a:off x="15996164" y="2524050"/>
              <a:ext cx="2700739" cy="2874471"/>
            </a:xfrm>
            <a:prstGeom prst="rect">
              <a:avLst/>
            </a:prstGeom>
            <a:ln>
              <a:solidFill>
                <a:srgbClr val="FF0000"/>
              </a:solidFill>
              <a:prstDash val="lgDash"/>
            </a:ln>
          </p:spPr>
        </p:pic>
        <p:sp>
          <p:nvSpPr>
            <p:cNvPr id="10" name="Isosceles Triangle 9">
              <a:extLst>
                <a:ext uri="{FF2B5EF4-FFF2-40B4-BE49-F238E27FC236}">
                  <a16:creationId xmlns:a16="http://schemas.microsoft.com/office/drawing/2014/main" id="{24E991D6-CCED-BBDF-1552-8ACFF2B322C5}"/>
                </a:ext>
              </a:extLst>
            </p:cNvPr>
            <p:cNvSpPr/>
            <p:nvPr/>
          </p:nvSpPr>
          <p:spPr>
            <a:xfrm>
              <a:off x="13058843" y="4505711"/>
              <a:ext cx="2641540" cy="2527538"/>
            </a:xfrm>
            <a:prstGeom prst="triangle">
              <a:avLst>
                <a:gd name="adj" fmla="val 51306"/>
              </a:avLst>
            </a:prstGeom>
            <a:noFill/>
            <a:ln w="762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1092">
                  <a:solidFill>
                    <a:srgbClr val="58585A">
                      <a:lumMod val="50000"/>
                    </a:srgbClr>
                  </a:solidFill>
                  <a:latin typeface="Arial"/>
                </a:rPr>
                <a:t>F2</a:t>
              </a:r>
            </a:p>
          </p:txBody>
        </p:sp>
        <p:sp>
          <p:nvSpPr>
            <p:cNvPr id="11" name="Isosceles Triangle 10">
              <a:extLst>
                <a:ext uri="{FF2B5EF4-FFF2-40B4-BE49-F238E27FC236}">
                  <a16:creationId xmlns:a16="http://schemas.microsoft.com/office/drawing/2014/main" id="{5E91BDE8-AA1A-0014-744E-E3B6856661AF}"/>
                </a:ext>
              </a:extLst>
            </p:cNvPr>
            <p:cNvSpPr/>
            <p:nvPr/>
          </p:nvSpPr>
          <p:spPr>
            <a:xfrm>
              <a:off x="11765219" y="4505711"/>
              <a:ext cx="2641540" cy="2527538"/>
            </a:xfrm>
            <a:prstGeom prst="triangle">
              <a:avLst>
                <a:gd name="adj" fmla="val 51306"/>
              </a:avLst>
            </a:prstGeom>
            <a:noFill/>
            <a:ln w="76200">
              <a:solidFill>
                <a:srgbClr val="6FA43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1092">
                  <a:solidFill>
                    <a:srgbClr val="58585A">
                      <a:lumMod val="50000"/>
                    </a:srgbClr>
                  </a:solidFill>
                  <a:latin typeface="Arial"/>
                </a:rPr>
                <a:t>F3</a:t>
              </a:r>
            </a:p>
          </p:txBody>
        </p:sp>
        <p:sp>
          <p:nvSpPr>
            <p:cNvPr id="12" name="Bent-Up Arrow 13">
              <a:extLst>
                <a:ext uri="{FF2B5EF4-FFF2-40B4-BE49-F238E27FC236}">
                  <a16:creationId xmlns:a16="http://schemas.microsoft.com/office/drawing/2014/main" id="{3EC89503-4C1C-0EE9-4DE2-104929C57784}"/>
                </a:ext>
              </a:extLst>
            </p:cNvPr>
            <p:cNvSpPr/>
            <p:nvPr/>
          </p:nvSpPr>
          <p:spPr>
            <a:xfrm>
              <a:off x="15571976" y="5408344"/>
              <a:ext cx="2147008" cy="1278542"/>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fr-LU" sz="1092">
                <a:solidFill>
                  <a:srgbClr val="FFFFFF"/>
                </a:solidFill>
                <a:latin typeface="Arial"/>
              </a:endParaRPr>
            </a:p>
          </p:txBody>
        </p:sp>
        <p:sp>
          <p:nvSpPr>
            <p:cNvPr id="13" name="Isosceles Triangle 12">
              <a:extLst>
                <a:ext uri="{FF2B5EF4-FFF2-40B4-BE49-F238E27FC236}">
                  <a16:creationId xmlns:a16="http://schemas.microsoft.com/office/drawing/2014/main" id="{0166B052-070C-B4A5-6A2F-572F0E956CA4}"/>
                </a:ext>
              </a:extLst>
            </p:cNvPr>
            <p:cNvSpPr/>
            <p:nvPr/>
          </p:nvSpPr>
          <p:spPr>
            <a:xfrm>
              <a:off x="12456543" y="3098952"/>
              <a:ext cx="2589451" cy="2643307"/>
            </a:xfrm>
            <a:prstGeom prst="triangle">
              <a:avLst/>
            </a:prstGeom>
            <a:noFill/>
            <a:ln w="7620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1092">
                  <a:solidFill>
                    <a:srgbClr val="58585A">
                      <a:lumMod val="50000"/>
                    </a:srgbClr>
                  </a:solidFill>
                  <a:latin typeface="Arial"/>
                </a:rPr>
                <a:t>F1</a:t>
              </a:r>
            </a:p>
          </p:txBody>
        </p:sp>
        <p:sp>
          <p:nvSpPr>
            <p:cNvPr id="14" name="Isosceles Triangle 13">
              <a:extLst>
                <a:ext uri="{FF2B5EF4-FFF2-40B4-BE49-F238E27FC236}">
                  <a16:creationId xmlns:a16="http://schemas.microsoft.com/office/drawing/2014/main" id="{06CD4F48-A742-6C75-B93F-6536DD970849}"/>
                </a:ext>
              </a:extLst>
            </p:cNvPr>
            <p:cNvSpPr/>
            <p:nvPr/>
          </p:nvSpPr>
          <p:spPr>
            <a:xfrm>
              <a:off x="8541071" y="5497718"/>
              <a:ext cx="2641540" cy="2527538"/>
            </a:xfrm>
            <a:prstGeom prst="triangle">
              <a:avLst>
                <a:gd name="adj" fmla="val 51306"/>
              </a:avLst>
            </a:prstGeom>
            <a:solidFill>
              <a:srgbClr val="CC99FE"/>
            </a:solidFill>
            <a:ln w="76200">
              <a:solidFill>
                <a:srgbClr val="6FA43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849" b="1">
                  <a:solidFill>
                    <a:srgbClr val="58585A">
                      <a:lumMod val="50000"/>
                    </a:srgbClr>
                  </a:solidFill>
                  <a:latin typeface="Arial"/>
                </a:rPr>
                <a:t>Maintenance </a:t>
              </a:r>
              <a:r>
                <a:rPr lang="fr-LU" sz="849" b="1" err="1">
                  <a:solidFill>
                    <a:srgbClr val="58585A">
                      <a:lumMod val="50000"/>
                    </a:srgbClr>
                  </a:solidFill>
                  <a:latin typeface="Arial"/>
                </a:rPr>
                <a:t>delivery</a:t>
              </a:r>
              <a:endParaRPr lang="fr-LU" sz="849" b="1">
                <a:solidFill>
                  <a:srgbClr val="58585A">
                    <a:lumMod val="50000"/>
                  </a:srgbClr>
                </a:solidFill>
                <a:latin typeface="Arial"/>
              </a:endParaRPr>
            </a:p>
            <a:p>
              <a:pPr algn="ctr" defTabSz="554492"/>
              <a:endParaRPr lang="fr-LU" sz="849" b="1">
                <a:solidFill>
                  <a:srgbClr val="58585A">
                    <a:lumMod val="50000"/>
                  </a:srgbClr>
                </a:solidFill>
                <a:latin typeface="Arial"/>
              </a:endParaRPr>
            </a:p>
            <a:p>
              <a:pPr algn="ctr" defTabSz="554492"/>
              <a:r>
                <a:rPr lang="fr-LU" sz="1092">
                  <a:solidFill>
                    <a:srgbClr val="58585A">
                      <a:lumMod val="50000"/>
                    </a:srgbClr>
                  </a:solidFill>
                  <a:latin typeface="Arial"/>
                </a:rPr>
                <a:t>F4</a:t>
              </a:r>
            </a:p>
          </p:txBody>
        </p:sp>
        <p:sp>
          <p:nvSpPr>
            <p:cNvPr id="15" name="Right Arrow 14">
              <a:extLst>
                <a:ext uri="{FF2B5EF4-FFF2-40B4-BE49-F238E27FC236}">
                  <a16:creationId xmlns:a16="http://schemas.microsoft.com/office/drawing/2014/main" id="{998391A2-2538-69DF-9EDE-F7A14F055DC1}"/>
                </a:ext>
              </a:extLst>
            </p:cNvPr>
            <p:cNvSpPr/>
            <p:nvPr/>
          </p:nvSpPr>
          <p:spPr>
            <a:xfrm rot="10800000">
              <a:off x="10411618" y="6047613"/>
              <a:ext cx="1546860" cy="624143"/>
            </a:xfrm>
            <a:prstGeom prst="rightArrow">
              <a:avLst/>
            </a:prstGeom>
            <a:solidFill>
              <a:schemeClr val="accent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fr-LU" sz="1092">
                <a:solidFill>
                  <a:srgbClr val="FFFFFF"/>
                </a:solidFill>
                <a:latin typeface="Arial"/>
              </a:endParaRPr>
            </a:p>
          </p:txBody>
        </p:sp>
        <p:sp>
          <p:nvSpPr>
            <p:cNvPr id="16" name="Bent-Up Arrow 15">
              <a:extLst>
                <a:ext uri="{FF2B5EF4-FFF2-40B4-BE49-F238E27FC236}">
                  <a16:creationId xmlns:a16="http://schemas.microsoft.com/office/drawing/2014/main" id="{B3B6AE0A-0075-4A20-6294-32404A7B62E8}"/>
                </a:ext>
              </a:extLst>
            </p:cNvPr>
            <p:cNvSpPr/>
            <p:nvPr/>
          </p:nvSpPr>
          <p:spPr>
            <a:xfrm>
              <a:off x="11206887" y="7042227"/>
              <a:ext cx="4091794" cy="820016"/>
            </a:xfrm>
            <a:prstGeom prst="bentUpArrow">
              <a:avLst>
                <a:gd name="adj1" fmla="val 36151"/>
                <a:gd name="adj2" fmla="val 24404"/>
                <a:gd name="adj3" fmla="val 3243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fr-LU" sz="1092">
                <a:solidFill>
                  <a:srgbClr val="FFFFFF"/>
                </a:solidFill>
                <a:latin typeface="Arial"/>
              </a:endParaRPr>
            </a:p>
          </p:txBody>
        </p:sp>
      </p:grpSp>
      <p:sp>
        <p:nvSpPr>
          <p:cNvPr id="2" name="TextBox 1">
            <a:extLst>
              <a:ext uri="{FF2B5EF4-FFF2-40B4-BE49-F238E27FC236}">
                <a16:creationId xmlns:a16="http://schemas.microsoft.com/office/drawing/2014/main" id="{8A9D848F-3F3C-3F96-90AC-0C8DA3B7807D}"/>
              </a:ext>
            </a:extLst>
          </p:cNvPr>
          <p:cNvSpPr txBox="1"/>
          <p:nvPr/>
        </p:nvSpPr>
        <p:spPr>
          <a:xfrm>
            <a:off x="619820" y="1267930"/>
            <a:ext cx="4859109" cy="987963"/>
          </a:xfrm>
          <a:prstGeom prst="rect">
            <a:avLst/>
          </a:prstGeom>
          <a:noFill/>
        </p:spPr>
        <p:txBody>
          <a:bodyPr wrap="square" rtlCol="0">
            <a:spAutoFit/>
          </a:bodyPr>
          <a:lstStyle/>
          <a:p>
            <a:pPr defTabSz="554492"/>
            <a:r>
              <a:rPr lang="fr-LU" sz="1940" b="1">
                <a:solidFill>
                  <a:srgbClr val="58585A"/>
                </a:solidFill>
                <a:latin typeface="Arial"/>
              </a:rPr>
              <a:t>CFL cargo + CFL </a:t>
            </a:r>
            <a:r>
              <a:rPr lang="fr-LU" sz="1940" b="1" err="1">
                <a:solidFill>
                  <a:srgbClr val="58585A"/>
                </a:solidFill>
                <a:latin typeface="Arial"/>
              </a:rPr>
              <a:t>technics</a:t>
            </a:r>
            <a:r>
              <a:rPr lang="fr-LU" sz="1940" b="1">
                <a:solidFill>
                  <a:srgbClr val="58585A"/>
                </a:solidFill>
                <a:latin typeface="Arial"/>
              </a:rPr>
              <a:t> = more </a:t>
            </a:r>
            <a:r>
              <a:rPr lang="fr-LU" sz="1940" b="1" err="1">
                <a:solidFill>
                  <a:srgbClr val="58585A"/>
                </a:solidFill>
                <a:latin typeface="Arial"/>
              </a:rPr>
              <a:t>than</a:t>
            </a:r>
            <a:r>
              <a:rPr lang="fr-LU" sz="1940" b="1">
                <a:solidFill>
                  <a:srgbClr val="58585A"/>
                </a:solidFill>
                <a:latin typeface="Arial"/>
              </a:rPr>
              <a:t> 220 people </a:t>
            </a:r>
            <a:r>
              <a:rPr lang="fr-LU" sz="1940" b="1" err="1">
                <a:solidFill>
                  <a:srgbClr val="58585A"/>
                </a:solidFill>
                <a:latin typeface="Arial"/>
              </a:rPr>
              <a:t>directly</a:t>
            </a:r>
            <a:r>
              <a:rPr lang="fr-LU" sz="1940" b="1">
                <a:solidFill>
                  <a:srgbClr val="58585A"/>
                </a:solidFill>
                <a:latin typeface="Arial"/>
              </a:rPr>
              <a:t> </a:t>
            </a:r>
            <a:r>
              <a:rPr lang="fr-LU" sz="1940" b="1" err="1">
                <a:solidFill>
                  <a:srgbClr val="58585A"/>
                </a:solidFill>
                <a:latin typeface="Arial"/>
              </a:rPr>
              <a:t>involved</a:t>
            </a:r>
            <a:r>
              <a:rPr lang="fr-LU" sz="1940" b="1">
                <a:solidFill>
                  <a:srgbClr val="58585A"/>
                </a:solidFill>
                <a:latin typeface="Arial"/>
              </a:rPr>
              <a:t> in </a:t>
            </a:r>
            <a:r>
              <a:rPr lang="fr-LU" sz="1940" b="1" err="1">
                <a:solidFill>
                  <a:srgbClr val="58585A"/>
                </a:solidFill>
                <a:latin typeface="Arial"/>
              </a:rPr>
              <a:t>rolling</a:t>
            </a:r>
            <a:r>
              <a:rPr lang="fr-LU" sz="1940" b="1">
                <a:solidFill>
                  <a:srgbClr val="58585A"/>
                </a:solidFill>
                <a:latin typeface="Arial"/>
              </a:rPr>
              <a:t> stock maintenance</a:t>
            </a:r>
          </a:p>
        </p:txBody>
      </p:sp>
    </p:spTree>
    <p:extLst>
      <p:ext uri="{BB962C8B-B14F-4D97-AF65-F5344CB8AC3E}">
        <p14:creationId xmlns:p14="http://schemas.microsoft.com/office/powerpoint/2010/main" val="4253448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BE100E5-B416-DAA9-2A81-B8B3C429EFC0}"/>
              </a:ext>
            </a:extLst>
          </p:cNvPr>
          <p:cNvSpPr/>
          <p:nvPr/>
        </p:nvSpPr>
        <p:spPr>
          <a:xfrm>
            <a:off x="559367" y="1912130"/>
            <a:ext cx="4006672" cy="34941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554492"/>
            <a:r>
              <a:rPr lang="fr-LU" sz="1092" b="1" err="1">
                <a:solidFill>
                  <a:srgbClr val="58585A">
                    <a:lumMod val="50000"/>
                  </a:srgbClr>
                </a:solidFill>
                <a:latin typeface="Arial"/>
              </a:rPr>
              <a:t>External</a:t>
            </a:r>
            <a:r>
              <a:rPr lang="fr-LU" sz="1092" b="1">
                <a:solidFill>
                  <a:srgbClr val="58585A">
                    <a:lumMod val="50000"/>
                  </a:srgbClr>
                </a:solidFill>
                <a:latin typeface="Arial"/>
              </a:rPr>
              <a:t> = </a:t>
            </a:r>
            <a:r>
              <a:rPr lang="fr-LU" sz="1092" b="1" err="1">
                <a:solidFill>
                  <a:srgbClr val="58585A">
                    <a:lumMod val="50000"/>
                  </a:srgbClr>
                </a:solidFill>
                <a:latin typeface="Arial"/>
              </a:rPr>
              <a:t>Customers</a:t>
            </a:r>
            <a:r>
              <a:rPr lang="fr-LU" sz="1092" b="1">
                <a:solidFill>
                  <a:srgbClr val="58585A">
                    <a:lumMod val="50000"/>
                  </a:srgbClr>
                </a:solidFill>
                <a:latin typeface="Arial"/>
              </a:rPr>
              <a:t> / Stakeholders </a:t>
            </a:r>
          </a:p>
        </p:txBody>
      </p:sp>
      <p:sp>
        <p:nvSpPr>
          <p:cNvPr id="62" name="Rectangle: Rounded Corners 61">
            <a:extLst>
              <a:ext uri="{FF2B5EF4-FFF2-40B4-BE49-F238E27FC236}">
                <a16:creationId xmlns:a16="http://schemas.microsoft.com/office/drawing/2014/main" id="{C36C48E0-CE92-B155-2C7D-BAD16F0912AA}"/>
              </a:ext>
            </a:extLst>
          </p:cNvPr>
          <p:cNvSpPr/>
          <p:nvPr/>
        </p:nvSpPr>
        <p:spPr>
          <a:xfrm>
            <a:off x="6450625" y="688980"/>
            <a:ext cx="2226785" cy="1420091"/>
          </a:xfrm>
          <a:prstGeom prst="roundRect">
            <a:avLst/>
          </a:prstGeom>
          <a:noFill/>
          <a:ln w="28575">
            <a:solidFill>
              <a:srgbClr val="FF0000"/>
            </a:solidFill>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92"/>
            <a:endParaRPr lang="fr-LU" sz="1092">
              <a:solidFill>
                <a:srgbClr val="FFFFFF"/>
              </a:solidFill>
              <a:latin typeface="Arial"/>
            </a:endParaRPr>
          </a:p>
        </p:txBody>
      </p:sp>
      <p:sp>
        <p:nvSpPr>
          <p:cNvPr id="63" name="Rectangle: Rounded Corners 62">
            <a:extLst>
              <a:ext uri="{FF2B5EF4-FFF2-40B4-BE49-F238E27FC236}">
                <a16:creationId xmlns:a16="http://schemas.microsoft.com/office/drawing/2014/main" id="{4842C7C8-E1D0-3933-BFE1-362C4F003BED}"/>
              </a:ext>
            </a:extLst>
          </p:cNvPr>
          <p:cNvSpPr/>
          <p:nvPr/>
        </p:nvSpPr>
        <p:spPr>
          <a:xfrm>
            <a:off x="6450625" y="2326497"/>
            <a:ext cx="2226785" cy="4250670"/>
          </a:xfrm>
          <a:prstGeom prst="roundRect">
            <a:avLst/>
          </a:prstGeom>
          <a:noFill/>
          <a:ln w="28575">
            <a:solidFill>
              <a:srgbClr val="FF0000"/>
            </a:solidFill>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92"/>
            <a:endParaRPr lang="fr-LU" sz="1092">
              <a:solidFill>
                <a:srgbClr val="FFFFFF"/>
              </a:solidFill>
              <a:latin typeface="Arial"/>
            </a:endParaRPr>
          </a:p>
        </p:txBody>
      </p:sp>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4" name="Content Placeholder 3">
            <a:extLst>
              <a:ext uri="{FF2B5EF4-FFF2-40B4-BE49-F238E27FC236}">
                <a16:creationId xmlns:a16="http://schemas.microsoft.com/office/drawing/2014/main" id="{967C0EDB-17ED-2E8A-0DE2-9CB18375218B}"/>
              </a:ext>
            </a:extLst>
          </p:cNvPr>
          <p:cNvSpPr>
            <a:spLocks noGrp="1"/>
          </p:cNvSpPr>
          <p:nvPr>
            <p:ph sz="half" idx="10"/>
          </p:nvPr>
        </p:nvSpPr>
        <p:spPr/>
        <p:txBody>
          <a:bodyPr/>
          <a:lstStyle/>
          <a:p>
            <a:endParaRPr lang="fr-LU"/>
          </a:p>
          <a:p>
            <a:endParaRPr lang="fr-LU"/>
          </a:p>
          <a:p>
            <a:endParaRPr lang="fr-LU" sz="2426" b="1"/>
          </a:p>
        </p:txBody>
      </p:sp>
      <p:sp>
        <p:nvSpPr>
          <p:cNvPr id="5" name="Title 4">
            <a:extLst>
              <a:ext uri="{FF2B5EF4-FFF2-40B4-BE49-F238E27FC236}">
                <a16:creationId xmlns:a16="http://schemas.microsoft.com/office/drawing/2014/main" id="{6884CFA3-B97E-139B-D17D-81353D5FF326}"/>
              </a:ext>
            </a:extLst>
          </p:cNvPr>
          <p:cNvSpPr>
            <a:spLocks noGrp="1"/>
          </p:cNvSpPr>
          <p:nvPr>
            <p:ph type="title"/>
          </p:nvPr>
        </p:nvSpPr>
        <p:spPr/>
        <p:txBody>
          <a:bodyPr/>
          <a:lstStyle/>
          <a:p>
            <a:r>
              <a:rPr lang="fr-LU"/>
              <a:t>MAINTENANCE SYSTEM INTERACTIONS</a:t>
            </a:r>
          </a:p>
        </p:txBody>
      </p:sp>
      <p:sp>
        <p:nvSpPr>
          <p:cNvPr id="6" name="Text Placeholder 5">
            <a:extLst>
              <a:ext uri="{FF2B5EF4-FFF2-40B4-BE49-F238E27FC236}">
                <a16:creationId xmlns:a16="http://schemas.microsoft.com/office/drawing/2014/main" id="{50C5E9AF-6CEB-FAB8-712E-29729BE76C80}"/>
              </a:ext>
            </a:extLst>
          </p:cNvPr>
          <p:cNvSpPr>
            <a:spLocks noGrp="1"/>
          </p:cNvSpPr>
          <p:nvPr>
            <p:ph type="body" sz="quarter" idx="12"/>
          </p:nvPr>
        </p:nvSpPr>
        <p:spPr/>
        <p:txBody>
          <a:bodyPr/>
          <a:lstStyle/>
          <a:p>
            <a:r>
              <a:rPr lang="fr-LU"/>
              <a:t>ORGANISATION ? </a:t>
            </a:r>
            <a:r>
              <a:rPr lang="fr-LU" err="1"/>
              <a:t>What</a:t>
            </a:r>
            <a:r>
              <a:rPr lang="fr-LU"/>
              <a:t> </a:t>
            </a:r>
            <a:r>
              <a:rPr lang="fr-LU" err="1"/>
              <a:t>is</a:t>
            </a:r>
            <a:r>
              <a:rPr lang="fr-LU"/>
              <a:t> </a:t>
            </a:r>
            <a:r>
              <a:rPr lang="fr-LU" err="1"/>
              <a:t>behind</a:t>
            </a:r>
            <a:r>
              <a:rPr lang="fr-LU"/>
              <a:t> …</a:t>
            </a:r>
          </a:p>
          <a:p>
            <a:r>
              <a:rPr lang="fr-LU"/>
              <a:t>Nothing but HOF … </a:t>
            </a:r>
          </a:p>
        </p:txBody>
      </p:sp>
      <p:pic>
        <p:nvPicPr>
          <p:cNvPr id="15" name="Picture 14">
            <a:extLst>
              <a:ext uri="{FF2B5EF4-FFF2-40B4-BE49-F238E27FC236}">
                <a16:creationId xmlns:a16="http://schemas.microsoft.com/office/drawing/2014/main" id="{C34C901C-C04E-1E00-5089-798115DAA4B9}"/>
              </a:ext>
            </a:extLst>
          </p:cNvPr>
          <p:cNvPicPr>
            <a:picLocks noChangeAspect="1"/>
          </p:cNvPicPr>
          <p:nvPr/>
        </p:nvPicPr>
        <p:blipFill>
          <a:blip r:embed="rId2"/>
          <a:stretch>
            <a:fillRect/>
          </a:stretch>
        </p:blipFill>
        <p:spPr>
          <a:xfrm>
            <a:off x="7980455" y="3346124"/>
            <a:ext cx="620961" cy="788142"/>
          </a:xfrm>
          <a:prstGeom prst="rect">
            <a:avLst/>
          </a:prstGeom>
        </p:spPr>
      </p:pic>
      <p:pic>
        <p:nvPicPr>
          <p:cNvPr id="18" name="Picture 17">
            <a:extLst>
              <a:ext uri="{FF2B5EF4-FFF2-40B4-BE49-F238E27FC236}">
                <a16:creationId xmlns:a16="http://schemas.microsoft.com/office/drawing/2014/main" id="{C0FD358A-C407-27E4-87E9-C7E81BEBDDF2}"/>
              </a:ext>
            </a:extLst>
          </p:cNvPr>
          <p:cNvPicPr>
            <a:picLocks noChangeAspect="1"/>
          </p:cNvPicPr>
          <p:nvPr/>
        </p:nvPicPr>
        <p:blipFill>
          <a:blip r:embed="rId3"/>
          <a:stretch>
            <a:fillRect/>
          </a:stretch>
        </p:blipFill>
        <p:spPr>
          <a:xfrm>
            <a:off x="6699233" y="3346124"/>
            <a:ext cx="631899" cy="804012"/>
          </a:xfrm>
          <a:prstGeom prst="rect">
            <a:avLst/>
          </a:prstGeom>
        </p:spPr>
      </p:pic>
      <p:pic>
        <p:nvPicPr>
          <p:cNvPr id="32" name="Picture 31">
            <a:extLst>
              <a:ext uri="{FF2B5EF4-FFF2-40B4-BE49-F238E27FC236}">
                <a16:creationId xmlns:a16="http://schemas.microsoft.com/office/drawing/2014/main" id="{BA411963-3B52-0148-C762-D317D896B913}"/>
              </a:ext>
            </a:extLst>
          </p:cNvPr>
          <p:cNvPicPr>
            <a:picLocks noChangeAspect="1"/>
          </p:cNvPicPr>
          <p:nvPr/>
        </p:nvPicPr>
        <p:blipFill>
          <a:blip r:embed="rId4"/>
          <a:stretch>
            <a:fillRect/>
          </a:stretch>
        </p:blipFill>
        <p:spPr>
          <a:xfrm>
            <a:off x="7332882" y="2689131"/>
            <a:ext cx="647272" cy="815889"/>
          </a:xfrm>
          <a:prstGeom prst="rect">
            <a:avLst/>
          </a:prstGeom>
        </p:spPr>
      </p:pic>
      <p:pic>
        <p:nvPicPr>
          <p:cNvPr id="34" name="Picture 33">
            <a:extLst>
              <a:ext uri="{FF2B5EF4-FFF2-40B4-BE49-F238E27FC236}">
                <a16:creationId xmlns:a16="http://schemas.microsoft.com/office/drawing/2014/main" id="{067249F4-F60A-2110-467C-04A91661A081}"/>
              </a:ext>
            </a:extLst>
          </p:cNvPr>
          <p:cNvPicPr>
            <a:picLocks noChangeAspect="1"/>
          </p:cNvPicPr>
          <p:nvPr/>
        </p:nvPicPr>
        <p:blipFill>
          <a:blip r:embed="rId5"/>
          <a:stretch>
            <a:fillRect/>
          </a:stretch>
        </p:blipFill>
        <p:spPr>
          <a:xfrm>
            <a:off x="7979854" y="4554972"/>
            <a:ext cx="631899" cy="720619"/>
          </a:xfrm>
          <a:prstGeom prst="rect">
            <a:avLst/>
          </a:prstGeom>
        </p:spPr>
      </p:pic>
      <p:pic>
        <p:nvPicPr>
          <p:cNvPr id="37" name="Picture 36">
            <a:extLst>
              <a:ext uri="{FF2B5EF4-FFF2-40B4-BE49-F238E27FC236}">
                <a16:creationId xmlns:a16="http://schemas.microsoft.com/office/drawing/2014/main" id="{277DE970-6194-5921-5F77-4D96383C4ED8}"/>
              </a:ext>
            </a:extLst>
          </p:cNvPr>
          <p:cNvPicPr>
            <a:picLocks noChangeAspect="1"/>
          </p:cNvPicPr>
          <p:nvPr/>
        </p:nvPicPr>
        <p:blipFill>
          <a:blip r:embed="rId6"/>
          <a:stretch>
            <a:fillRect/>
          </a:stretch>
        </p:blipFill>
        <p:spPr>
          <a:xfrm flipH="1">
            <a:off x="7366269" y="3877126"/>
            <a:ext cx="613585" cy="746168"/>
          </a:xfrm>
          <a:prstGeom prst="rect">
            <a:avLst/>
          </a:prstGeom>
        </p:spPr>
      </p:pic>
      <p:pic>
        <p:nvPicPr>
          <p:cNvPr id="40" name="Picture 39">
            <a:extLst>
              <a:ext uri="{FF2B5EF4-FFF2-40B4-BE49-F238E27FC236}">
                <a16:creationId xmlns:a16="http://schemas.microsoft.com/office/drawing/2014/main" id="{26E8D324-3A80-58EA-E87E-55A05DE255A5}"/>
              </a:ext>
            </a:extLst>
          </p:cNvPr>
          <p:cNvPicPr>
            <a:picLocks noChangeAspect="1"/>
          </p:cNvPicPr>
          <p:nvPr/>
        </p:nvPicPr>
        <p:blipFill>
          <a:blip r:embed="rId7"/>
          <a:stretch>
            <a:fillRect/>
          </a:stretch>
        </p:blipFill>
        <p:spPr>
          <a:xfrm>
            <a:off x="6805769" y="4551483"/>
            <a:ext cx="546956" cy="670876"/>
          </a:xfrm>
          <a:prstGeom prst="rect">
            <a:avLst/>
          </a:prstGeom>
        </p:spPr>
      </p:pic>
      <p:sp>
        <p:nvSpPr>
          <p:cNvPr id="43" name="TextBox 42">
            <a:extLst>
              <a:ext uri="{FF2B5EF4-FFF2-40B4-BE49-F238E27FC236}">
                <a16:creationId xmlns:a16="http://schemas.microsoft.com/office/drawing/2014/main" id="{795DBECC-3708-0868-BC89-186E876C4D1F}"/>
              </a:ext>
            </a:extLst>
          </p:cNvPr>
          <p:cNvSpPr txBox="1"/>
          <p:nvPr/>
        </p:nvSpPr>
        <p:spPr>
          <a:xfrm>
            <a:off x="7396174" y="4593187"/>
            <a:ext cx="510486" cy="353623"/>
          </a:xfrm>
          <a:prstGeom prst="rect">
            <a:avLst/>
          </a:prstGeom>
          <a:noFill/>
        </p:spPr>
        <p:txBody>
          <a:bodyPr wrap="square" rtlCol="0">
            <a:spAutoFit/>
          </a:bodyPr>
          <a:lstStyle/>
          <a:p>
            <a:pPr algn="ctr" defTabSz="554492"/>
            <a:r>
              <a:rPr lang="fr-LU" sz="1698" b="1">
                <a:solidFill>
                  <a:srgbClr val="FF0000"/>
                </a:solidFill>
                <a:latin typeface="Arial"/>
              </a:rPr>
              <a:t>ME</a:t>
            </a:r>
          </a:p>
        </p:txBody>
      </p:sp>
      <p:sp>
        <p:nvSpPr>
          <p:cNvPr id="44" name="TextBox 43">
            <a:extLst>
              <a:ext uri="{FF2B5EF4-FFF2-40B4-BE49-F238E27FC236}">
                <a16:creationId xmlns:a16="http://schemas.microsoft.com/office/drawing/2014/main" id="{AE94BCE6-1C90-DBCB-6E66-C3767024AB59}"/>
              </a:ext>
            </a:extLst>
          </p:cNvPr>
          <p:cNvSpPr txBox="1"/>
          <p:nvPr/>
        </p:nvSpPr>
        <p:spPr>
          <a:xfrm>
            <a:off x="6812627" y="4156361"/>
            <a:ext cx="510486" cy="614912"/>
          </a:xfrm>
          <a:prstGeom prst="rect">
            <a:avLst/>
          </a:prstGeom>
          <a:noFill/>
        </p:spPr>
        <p:txBody>
          <a:bodyPr wrap="square" rtlCol="0">
            <a:spAutoFit/>
          </a:bodyPr>
          <a:lstStyle/>
          <a:p>
            <a:pPr algn="ctr" defTabSz="554492"/>
            <a:r>
              <a:rPr lang="fr-LU" sz="1698" b="1">
                <a:solidFill>
                  <a:srgbClr val="58585A"/>
                </a:solidFill>
                <a:latin typeface="Arial"/>
              </a:rPr>
              <a:t>HIM</a:t>
            </a:r>
          </a:p>
        </p:txBody>
      </p:sp>
      <p:sp>
        <p:nvSpPr>
          <p:cNvPr id="45" name="TextBox 44">
            <a:extLst>
              <a:ext uri="{FF2B5EF4-FFF2-40B4-BE49-F238E27FC236}">
                <a16:creationId xmlns:a16="http://schemas.microsoft.com/office/drawing/2014/main" id="{555A8BD6-D7D2-B633-228E-59B13FA2E8F9}"/>
              </a:ext>
            </a:extLst>
          </p:cNvPr>
          <p:cNvSpPr txBox="1"/>
          <p:nvPr/>
        </p:nvSpPr>
        <p:spPr>
          <a:xfrm>
            <a:off x="7331132" y="3564616"/>
            <a:ext cx="703424" cy="353623"/>
          </a:xfrm>
          <a:prstGeom prst="rect">
            <a:avLst/>
          </a:prstGeom>
          <a:noFill/>
        </p:spPr>
        <p:txBody>
          <a:bodyPr wrap="square" rtlCol="0">
            <a:spAutoFit/>
          </a:bodyPr>
          <a:lstStyle/>
          <a:p>
            <a:pPr algn="ctr" defTabSz="554492"/>
            <a:r>
              <a:rPr lang="fr-LU" sz="1698" b="1">
                <a:solidFill>
                  <a:srgbClr val="58585A"/>
                </a:solidFill>
                <a:latin typeface="Arial"/>
              </a:rPr>
              <a:t>HER</a:t>
            </a:r>
          </a:p>
        </p:txBody>
      </p:sp>
      <p:sp>
        <p:nvSpPr>
          <p:cNvPr id="46" name="TextBox 45">
            <a:extLst>
              <a:ext uri="{FF2B5EF4-FFF2-40B4-BE49-F238E27FC236}">
                <a16:creationId xmlns:a16="http://schemas.microsoft.com/office/drawing/2014/main" id="{D05D66C7-F31A-6547-F7B7-FD8E04601DDD}"/>
              </a:ext>
            </a:extLst>
          </p:cNvPr>
          <p:cNvSpPr txBox="1"/>
          <p:nvPr/>
        </p:nvSpPr>
        <p:spPr>
          <a:xfrm>
            <a:off x="7944091" y="5324424"/>
            <a:ext cx="703424" cy="353623"/>
          </a:xfrm>
          <a:prstGeom prst="rect">
            <a:avLst/>
          </a:prstGeom>
          <a:noFill/>
        </p:spPr>
        <p:txBody>
          <a:bodyPr wrap="square" rtlCol="0">
            <a:spAutoFit/>
          </a:bodyPr>
          <a:lstStyle/>
          <a:p>
            <a:pPr algn="ctr" defTabSz="554492"/>
            <a:r>
              <a:rPr lang="fr-LU" sz="1698" b="1">
                <a:solidFill>
                  <a:srgbClr val="58585A"/>
                </a:solidFill>
                <a:latin typeface="Arial"/>
              </a:rPr>
              <a:t>HER</a:t>
            </a:r>
          </a:p>
        </p:txBody>
      </p:sp>
      <p:sp>
        <p:nvSpPr>
          <p:cNvPr id="47" name="TextBox 46">
            <a:extLst>
              <a:ext uri="{FF2B5EF4-FFF2-40B4-BE49-F238E27FC236}">
                <a16:creationId xmlns:a16="http://schemas.microsoft.com/office/drawing/2014/main" id="{D3A5862B-E622-3F00-8DAE-DE9754C875A1}"/>
              </a:ext>
            </a:extLst>
          </p:cNvPr>
          <p:cNvSpPr txBox="1"/>
          <p:nvPr/>
        </p:nvSpPr>
        <p:spPr>
          <a:xfrm>
            <a:off x="6639210" y="5222359"/>
            <a:ext cx="703424" cy="353623"/>
          </a:xfrm>
          <a:prstGeom prst="rect">
            <a:avLst/>
          </a:prstGeom>
          <a:noFill/>
        </p:spPr>
        <p:txBody>
          <a:bodyPr wrap="square" rtlCol="0">
            <a:spAutoFit/>
          </a:bodyPr>
          <a:lstStyle/>
          <a:p>
            <a:pPr algn="ctr" defTabSz="554492"/>
            <a:r>
              <a:rPr lang="fr-LU" sz="1698" b="1">
                <a:solidFill>
                  <a:srgbClr val="58585A"/>
                </a:solidFill>
                <a:latin typeface="Arial"/>
              </a:rPr>
              <a:t>HIM</a:t>
            </a:r>
          </a:p>
        </p:txBody>
      </p:sp>
      <p:sp>
        <p:nvSpPr>
          <p:cNvPr id="48" name="TextBox 47">
            <a:extLst>
              <a:ext uri="{FF2B5EF4-FFF2-40B4-BE49-F238E27FC236}">
                <a16:creationId xmlns:a16="http://schemas.microsoft.com/office/drawing/2014/main" id="{8DBB271C-E10A-77B7-3F3D-E771BD956816}"/>
              </a:ext>
            </a:extLst>
          </p:cNvPr>
          <p:cNvSpPr txBox="1"/>
          <p:nvPr/>
        </p:nvSpPr>
        <p:spPr>
          <a:xfrm>
            <a:off x="7972026" y="4103671"/>
            <a:ext cx="510486" cy="614912"/>
          </a:xfrm>
          <a:prstGeom prst="rect">
            <a:avLst/>
          </a:prstGeom>
          <a:noFill/>
        </p:spPr>
        <p:txBody>
          <a:bodyPr wrap="square" rtlCol="0">
            <a:spAutoFit/>
          </a:bodyPr>
          <a:lstStyle/>
          <a:p>
            <a:pPr algn="ctr" defTabSz="554492"/>
            <a:r>
              <a:rPr lang="fr-LU" sz="1698" b="1">
                <a:solidFill>
                  <a:srgbClr val="58585A"/>
                </a:solidFill>
                <a:latin typeface="Arial"/>
              </a:rPr>
              <a:t>HIM</a:t>
            </a:r>
          </a:p>
        </p:txBody>
      </p:sp>
      <p:pic>
        <p:nvPicPr>
          <p:cNvPr id="50" name="Picture 49">
            <a:extLst>
              <a:ext uri="{FF2B5EF4-FFF2-40B4-BE49-F238E27FC236}">
                <a16:creationId xmlns:a16="http://schemas.microsoft.com/office/drawing/2014/main" id="{7ADD31CF-6809-1E17-B4E4-9BB7F0AB0680}"/>
              </a:ext>
            </a:extLst>
          </p:cNvPr>
          <p:cNvPicPr>
            <a:picLocks noChangeAspect="1"/>
          </p:cNvPicPr>
          <p:nvPr/>
        </p:nvPicPr>
        <p:blipFill>
          <a:blip r:embed="rId8"/>
          <a:stretch>
            <a:fillRect/>
          </a:stretch>
        </p:blipFill>
        <p:spPr>
          <a:xfrm flipH="1">
            <a:off x="7352725" y="5178498"/>
            <a:ext cx="703424" cy="847381"/>
          </a:xfrm>
          <a:prstGeom prst="rect">
            <a:avLst/>
          </a:prstGeom>
        </p:spPr>
      </p:pic>
      <p:sp>
        <p:nvSpPr>
          <p:cNvPr id="51" name="TextBox 50">
            <a:extLst>
              <a:ext uri="{FF2B5EF4-FFF2-40B4-BE49-F238E27FC236}">
                <a16:creationId xmlns:a16="http://schemas.microsoft.com/office/drawing/2014/main" id="{6E99AE86-7233-26B5-2357-911BBAFACD23}"/>
              </a:ext>
            </a:extLst>
          </p:cNvPr>
          <p:cNvSpPr txBox="1"/>
          <p:nvPr/>
        </p:nvSpPr>
        <p:spPr>
          <a:xfrm>
            <a:off x="7331132" y="6092994"/>
            <a:ext cx="703424" cy="353623"/>
          </a:xfrm>
          <a:prstGeom prst="rect">
            <a:avLst/>
          </a:prstGeom>
          <a:noFill/>
        </p:spPr>
        <p:txBody>
          <a:bodyPr wrap="square" rtlCol="0">
            <a:spAutoFit/>
          </a:bodyPr>
          <a:lstStyle/>
          <a:p>
            <a:pPr algn="ctr" defTabSz="554492"/>
            <a:r>
              <a:rPr lang="fr-LU" sz="1698" b="1">
                <a:solidFill>
                  <a:srgbClr val="58585A"/>
                </a:solidFill>
                <a:latin typeface="Arial"/>
              </a:rPr>
              <a:t>HER</a:t>
            </a:r>
          </a:p>
        </p:txBody>
      </p:sp>
      <p:pic>
        <p:nvPicPr>
          <p:cNvPr id="56" name="Picture 55">
            <a:extLst>
              <a:ext uri="{FF2B5EF4-FFF2-40B4-BE49-F238E27FC236}">
                <a16:creationId xmlns:a16="http://schemas.microsoft.com/office/drawing/2014/main" id="{DB809DD7-9371-E063-6760-6721D14F8ACB}"/>
              </a:ext>
            </a:extLst>
          </p:cNvPr>
          <p:cNvPicPr>
            <a:picLocks noChangeAspect="1"/>
          </p:cNvPicPr>
          <p:nvPr/>
        </p:nvPicPr>
        <p:blipFill>
          <a:blip r:embed="rId5"/>
          <a:stretch>
            <a:fillRect/>
          </a:stretch>
        </p:blipFill>
        <p:spPr>
          <a:xfrm flipH="1">
            <a:off x="7090636" y="1104250"/>
            <a:ext cx="631899" cy="720619"/>
          </a:xfrm>
          <a:prstGeom prst="rect">
            <a:avLst/>
          </a:prstGeom>
        </p:spPr>
      </p:pic>
      <p:sp>
        <p:nvSpPr>
          <p:cNvPr id="57" name="TextBox 56">
            <a:extLst>
              <a:ext uri="{FF2B5EF4-FFF2-40B4-BE49-F238E27FC236}">
                <a16:creationId xmlns:a16="http://schemas.microsoft.com/office/drawing/2014/main" id="{6BE4232E-FF07-681F-BC7C-FFC0041B16EA}"/>
              </a:ext>
            </a:extLst>
          </p:cNvPr>
          <p:cNvSpPr txBox="1"/>
          <p:nvPr/>
        </p:nvSpPr>
        <p:spPr>
          <a:xfrm>
            <a:off x="6514907" y="1594849"/>
            <a:ext cx="703424" cy="353623"/>
          </a:xfrm>
          <a:prstGeom prst="rect">
            <a:avLst/>
          </a:prstGeom>
          <a:noFill/>
        </p:spPr>
        <p:txBody>
          <a:bodyPr wrap="square" rtlCol="0">
            <a:spAutoFit/>
          </a:bodyPr>
          <a:lstStyle/>
          <a:p>
            <a:pPr algn="ctr" defTabSz="554492"/>
            <a:r>
              <a:rPr lang="fr-LU" sz="1698" b="1">
                <a:solidFill>
                  <a:srgbClr val="58585A"/>
                </a:solidFill>
                <a:latin typeface="Arial"/>
              </a:rPr>
              <a:t>HIM</a:t>
            </a:r>
          </a:p>
        </p:txBody>
      </p:sp>
      <p:sp>
        <p:nvSpPr>
          <p:cNvPr id="58" name="TextBox 57">
            <a:extLst>
              <a:ext uri="{FF2B5EF4-FFF2-40B4-BE49-F238E27FC236}">
                <a16:creationId xmlns:a16="http://schemas.microsoft.com/office/drawing/2014/main" id="{4C991C5B-B62D-0D16-957B-3B8A7D8AE297}"/>
              </a:ext>
            </a:extLst>
          </p:cNvPr>
          <p:cNvSpPr txBox="1"/>
          <p:nvPr/>
        </p:nvSpPr>
        <p:spPr>
          <a:xfrm>
            <a:off x="7124093" y="1744696"/>
            <a:ext cx="703424" cy="353623"/>
          </a:xfrm>
          <a:prstGeom prst="rect">
            <a:avLst/>
          </a:prstGeom>
          <a:noFill/>
        </p:spPr>
        <p:txBody>
          <a:bodyPr wrap="square" rtlCol="0">
            <a:spAutoFit/>
          </a:bodyPr>
          <a:lstStyle/>
          <a:p>
            <a:pPr algn="ctr" defTabSz="554492"/>
            <a:r>
              <a:rPr lang="fr-LU" sz="1698" b="1">
                <a:solidFill>
                  <a:srgbClr val="58585A"/>
                </a:solidFill>
                <a:latin typeface="Arial"/>
              </a:rPr>
              <a:t>HER</a:t>
            </a:r>
          </a:p>
        </p:txBody>
      </p:sp>
      <p:pic>
        <p:nvPicPr>
          <p:cNvPr id="59" name="Picture 58">
            <a:extLst>
              <a:ext uri="{FF2B5EF4-FFF2-40B4-BE49-F238E27FC236}">
                <a16:creationId xmlns:a16="http://schemas.microsoft.com/office/drawing/2014/main" id="{6997C8C7-ECE6-B6F1-A601-B2E5214F4BAA}"/>
              </a:ext>
            </a:extLst>
          </p:cNvPr>
          <p:cNvPicPr>
            <a:picLocks noChangeAspect="1"/>
          </p:cNvPicPr>
          <p:nvPr/>
        </p:nvPicPr>
        <p:blipFill>
          <a:blip r:embed="rId3"/>
          <a:stretch>
            <a:fillRect/>
          </a:stretch>
        </p:blipFill>
        <p:spPr>
          <a:xfrm flipH="1">
            <a:off x="7740200" y="934321"/>
            <a:ext cx="631899" cy="804012"/>
          </a:xfrm>
          <a:prstGeom prst="rect">
            <a:avLst/>
          </a:prstGeom>
        </p:spPr>
      </p:pic>
      <p:sp>
        <p:nvSpPr>
          <p:cNvPr id="61" name="TextBox 60">
            <a:extLst>
              <a:ext uri="{FF2B5EF4-FFF2-40B4-BE49-F238E27FC236}">
                <a16:creationId xmlns:a16="http://schemas.microsoft.com/office/drawing/2014/main" id="{E13D8822-C4A7-FF5F-FAD3-FF9C6E0C7814}"/>
              </a:ext>
            </a:extLst>
          </p:cNvPr>
          <p:cNvSpPr txBox="1"/>
          <p:nvPr/>
        </p:nvSpPr>
        <p:spPr>
          <a:xfrm>
            <a:off x="7656518" y="1699786"/>
            <a:ext cx="703424" cy="353623"/>
          </a:xfrm>
          <a:prstGeom prst="rect">
            <a:avLst/>
          </a:prstGeom>
          <a:noFill/>
        </p:spPr>
        <p:txBody>
          <a:bodyPr wrap="square" rtlCol="0">
            <a:spAutoFit/>
          </a:bodyPr>
          <a:lstStyle/>
          <a:p>
            <a:pPr algn="ctr" defTabSz="554492"/>
            <a:r>
              <a:rPr lang="fr-LU" sz="1698" b="1">
                <a:solidFill>
                  <a:srgbClr val="58585A"/>
                </a:solidFill>
                <a:latin typeface="Arial"/>
              </a:rPr>
              <a:t>HER</a:t>
            </a:r>
          </a:p>
        </p:txBody>
      </p:sp>
      <p:sp>
        <p:nvSpPr>
          <p:cNvPr id="66" name="TextBox 65">
            <a:extLst>
              <a:ext uri="{FF2B5EF4-FFF2-40B4-BE49-F238E27FC236}">
                <a16:creationId xmlns:a16="http://schemas.microsoft.com/office/drawing/2014/main" id="{92649CF4-886C-D5A4-F9F5-CAC13CF23787}"/>
              </a:ext>
            </a:extLst>
          </p:cNvPr>
          <p:cNvSpPr txBox="1"/>
          <p:nvPr/>
        </p:nvSpPr>
        <p:spPr>
          <a:xfrm>
            <a:off x="8684947" y="5116951"/>
            <a:ext cx="1882953" cy="338554"/>
          </a:xfrm>
          <a:prstGeom prst="rect">
            <a:avLst/>
          </a:prstGeom>
          <a:noFill/>
        </p:spPr>
        <p:txBody>
          <a:bodyPr wrap="square" rtlCol="0">
            <a:spAutoFit/>
          </a:bodyPr>
          <a:lstStyle/>
          <a:p>
            <a:pPr algn="ctr" defTabSz="554492"/>
            <a:r>
              <a:rPr lang="fr-LU" sz="1600" b="1" dirty="0">
                <a:solidFill>
                  <a:srgbClr val="FF0000"/>
                </a:solidFill>
                <a:latin typeface="Arial"/>
              </a:rPr>
              <a:t>US / Our service</a:t>
            </a:r>
          </a:p>
        </p:txBody>
      </p:sp>
      <p:sp>
        <p:nvSpPr>
          <p:cNvPr id="67" name="TextBox 66">
            <a:extLst>
              <a:ext uri="{FF2B5EF4-FFF2-40B4-BE49-F238E27FC236}">
                <a16:creationId xmlns:a16="http://schemas.microsoft.com/office/drawing/2014/main" id="{EDF818CA-67F3-529E-8DED-1528A0826DCF}"/>
              </a:ext>
            </a:extLst>
          </p:cNvPr>
          <p:cNvSpPr txBox="1"/>
          <p:nvPr/>
        </p:nvSpPr>
        <p:spPr>
          <a:xfrm>
            <a:off x="8660797" y="616500"/>
            <a:ext cx="2061002" cy="338554"/>
          </a:xfrm>
          <a:prstGeom prst="rect">
            <a:avLst/>
          </a:prstGeom>
          <a:noFill/>
        </p:spPr>
        <p:txBody>
          <a:bodyPr wrap="square" rtlCol="0">
            <a:spAutoFit/>
          </a:bodyPr>
          <a:lstStyle/>
          <a:p>
            <a:pPr algn="ctr" defTabSz="554492"/>
            <a:r>
              <a:rPr lang="fr-LU" sz="1600" b="1" dirty="0">
                <a:solidFill>
                  <a:srgbClr val="FF0000"/>
                </a:solidFill>
                <a:latin typeface="Arial"/>
              </a:rPr>
              <a:t>THEM / </a:t>
            </a:r>
            <a:r>
              <a:rPr lang="fr-LU" sz="1600" b="1" dirty="0" err="1">
                <a:solidFill>
                  <a:srgbClr val="FF0000"/>
                </a:solidFill>
                <a:latin typeface="Arial"/>
              </a:rPr>
              <a:t>Their</a:t>
            </a:r>
            <a:r>
              <a:rPr lang="fr-LU" sz="1600" b="1" dirty="0">
                <a:solidFill>
                  <a:srgbClr val="FF0000"/>
                </a:solidFill>
                <a:latin typeface="Arial"/>
              </a:rPr>
              <a:t> </a:t>
            </a:r>
            <a:r>
              <a:rPr lang="fr-LU" sz="1600" b="1" dirty="0" err="1">
                <a:solidFill>
                  <a:srgbClr val="FF0000"/>
                </a:solidFill>
                <a:latin typeface="Arial"/>
              </a:rPr>
              <a:t>roles</a:t>
            </a:r>
            <a:endParaRPr lang="fr-LU" sz="1600" b="1" dirty="0">
              <a:solidFill>
                <a:srgbClr val="FF0000"/>
              </a:solidFill>
              <a:latin typeface="Arial"/>
            </a:endParaRPr>
          </a:p>
        </p:txBody>
      </p:sp>
      <p:pic>
        <p:nvPicPr>
          <p:cNvPr id="2" name="Picture 1">
            <a:extLst>
              <a:ext uri="{FF2B5EF4-FFF2-40B4-BE49-F238E27FC236}">
                <a16:creationId xmlns:a16="http://schemas.microsoft.com/office/drawing/2014/main" id="{FD79835F-AACA-16D0-0733-003CB6925FAF}"/>
              </a:ext>
            </a:extLst>
          </p:cNvPr>
          <p:cNvPicPr>
            <a:picLocks noChangeAspect="1"/>
          </p:cNvPicPr>
          <p:nvPr/>
        </p:nvPicPr>
        <p:blipFill>
          <a:blip r:embed="rId6"/>
          <a:stretch>
            <a:fillRect/>
          </a:stretch>
        </p:blipFill>
        <p:spPr>
          <a:xfrm flipH="1">
            <a:off x="5022849" y="2293146"/>
            <a:ext cx="613585" cy="746168"/>
          </a:xfrm>
          <a:prstGeom prst="rect">
            <a:avLst/>
          </a:prstGeom>
        </p:spPr>
      </p:pic>
      <p:sp>
        <p:nvSpPr>
          <p:cNvPr id="8" name="TextBox 7">
            <a:extLst>
              <a:ext uri="{FF2B5EF4-FFF2-40B4-BE49-F238E27FC236}">
                <a16:creationId xmlns:a16="http://schemas.microsoft.com/office/drawing/2014/main" id="{A61E0514-F98F-0E83-2F06-B083867D21D1}"/>
              </a:ext>
            </a:extLst>
          </p:cNvPr>
          <p:cNvSpPr txBox="1"/>
          <p:nvPr/>
        </p:nvSpPr>
        <p:spPr>
          <a:xfrm>
            <a:off x="4746323" y="3052985"/>
            <a:ext cx="1434063" cy="338554"/>
          </a:xfrm>
          <a:prstGeom prst="rect">
            <a:avLst/>
          </a:prstGeom>
          <a:noFill/>
        </p:spPr>
        <p:txBody>
          <a:bodyPr wrap="square" rtlCol="0">
            <a:spAutoFit/>
          </a:bodyPr>
          <a:lstStyle/>
          <a:p>
            <a:pPr algn="ctr" defTabSz="554492"/>
            <a:r>
              <a:rPr lang="fr-LU" sz="1600" b="1" dirty="0">
                <a:solidFill>
                  <a:srgbClr val="FF0000"/>
                </a:solidFill>
                <a:latin typeface="Arial"/>
              </a:rPr>
              <a:t>ME / </a:t>
            </a:r>
            <a:r>
              <a:rPr lang="fr-LU" sz="1600" b="1" dirty="0" err="1">
                <a:solidFill>
                  <a:srgbClr val="FF0000"/>
                </a:solidFill>
                <a:latin typeface="Arial"/>
              </a:rPr>
              <a:t>My</a:t>
            </a:r>
            <a:r>
              <a:rPr lang="fr-LU" sz="1600" b="1" dirty="0">
                <a:solidFill>
                  <a:srgbClr val="FF0000"/>
                </a:solidFill>
                <a:latin typeface="Arial"/>
              </a:rPr>
              <a:t> </a:t>
            </a:r>
            <a:r>
              <a:rPr lang="fr-LU" sz="1600" b="1" dirty="0" err="1">
                <a:solidFill>
                  <a:srgbClr val="FF0000"/>
                </a:solidFill>
                <a:latin typeface="Arial"/>
              </a:rPr>
              <a:t>role</a:t>
            </a:r>
            <a:endParaRPr lang="fr-LU" sz="1600" b="1" dirty="0">
              <a:solidFill>
                <a:srgbClr val="FF0000"/>
              </a:solidFill>
              <a:latin typeface="Arial"/>
            </a:endParaRPr>
          </a:p>
        </p:txBody>
      </p:sp>
      <p:pic>
        <p:nvPicPr>
          <p:cNvPr id="55" name="Picture 54">
            <a:extLst>
              <a:ext uri="{FF2B5EF4-FFF2-40B4-BE49-F238E27FC236}">
                <a16:creationId xmlns:a16="http://schemas.microsoft.com/office/drawing/2014/main" id="{C3CCF9E2-067F-27AF-80AC-B23F3F490297}"/>
              </a:ext>
            </a:extLst>
          </p:cNvPr>
          <p:cNvPicPr>
            <a:picLocks noChangeAspect="1"/>
          </p:cNvPicPr>
          <p:nvPr/>
        </p:nvPicPr>
        <p:blipFill>
          <a:blip r:embed="rId9"/>
          <a:stretch>
            <a:fillRect/>
          </a:stretch>
        </p:blipFill>
        <p:spPr>
          <a:xfrm>
            <a:off x="6512234" y="872396"/>
            <a:ext cx="600784" cy="745204"/>
          </a:xfrm>
          <a:prstGeom prst="rect">
            <a:avLst/>
          </a:prstGeom>
        </p:spPr>
      </p:pic>
      <p:sp>
        <p:nvSpPr>
          <p:cNvPr id="11" name="TextBox 10">
            <a:extLst>
              <a:ext uri="{FF2B5EF4-FFF2-40B4-BE49-F238E27FC236}">
                <a16:creationId xmlns:a16="http://schemas.microsoft.com/office/drawing/2014/main" id="{FD04FFD9-123D-0C35-3EF4-FDC2F7955AB6}"/>
              </a:ext>
            </a:extLst>
          </p:cNvPr>
          <p:cNvSpPr txBox="1"/>
          <p:nvPr/>
        </p:nvSpPr>
        <p:spPr>
          <a:xfrm>
            <a:off x="4766936" y="3449242"/>
            <a:ext cx="1298276" cy="1268745"/>
          </a:xfrm>
          <a:prstGeom prst="rect">
            <a:avLst/>
          </a:prstGeom>
          <a:noFill/>
        </p:spPr>
        <p:txBody>
          <a:bodyPr wrap="square" rtlCol="0">
            <a:spAutoFit/>
          </a:bodyPr>
          <a:lstStyle/>
          <a:p>
            <a:pPr defTabSz="554492"/>
            <a:r>
              <a:rPr lang="fr-LU" sz="1092" err="1">
                <a:solidFill>
                  <a:srgbClr val="58585A"/>
                </a:solidFill>
                <a:latin typeface="Arial"/>
              </a:rPr>
              <a:t>What</a:t>
            </a:r>
            <a:r>
              <a:rPr lang="fr-LU" sz="1092">
                <a:solidFill>
                  <a:srgbClr val="58585A"/>
                </a:solidFill>
                <a:latin typeface="Arial"/>
              </a:rPr>
              <a:t> I know…</a:t>
            </a:r>
          </a:p>
          <a:p>
            <a:pPr defTabSz="554492"/>
            <a:r>
              <a:rPr lang="fr-LU" sz="1092" err="1">
                <a:solidFill>
                  <a:srgbClr val="58585A"/>
                </a:solidFill>
                <a:latin typeface="Arial"/>
              </a:rPr>
              <a:t>What</a:t>
            </a:r>
            <a:r>
              <a:rPr lang="fr-LU" sz="1092">
                <a:solidFill>
                  <a:srgbClr val="58585A"/>
                </a:solidFill>
                <a:latin typeface="Arial"/>
              </a:rPr>
              <a:t> I </a:t>
            </a:r>
            <a:r>
              <a:rPr lang="fr-LU" sz="1092" err="1">
                <a:solidFill>
                  <a:srgbClr val="58585A"/>
                </a:solidFill>
                <a:latin typeface="Arial"/>
              </a:rPr>
              <a:t>want</a:t>
            </a:r>
            <a:r>
              <a:rPr lang="fr-LU" sz="1092">
                <a:solidFill>
                  <a:srgbClr val="58585A"/>
                </a:solidFill>
                <a:latin typeface="Arial"/>
              </a:rPr>
              <a:t>…</a:t>
            </a:r>
          </a:p>
          <a:p>
            <a:pPr defTabSz="554492"/>
            <a:r>
              <a:rPr lang="fr-LU" sz="1092" err="1">
                <a:solidFill>
                  <a:srgbClr val="58585A"/>
                </a:solidFill>
                <a:latin typeface="Arial"/>
              </a:rPr>
              <a:t>What</a:t>
            </a:r>
            <a:r>
              <a:rPr lang="fr-LU" sz="1092">
                <a:solidFill>
                  <a:srgbClr val="58585A"/>
                </a:solidFill>
                <a:latin typeface="Arial"/>
              </a:rPr>
              <a:t> I can… </a:t>
            </a:r>
          </a:p>
          <a:p>
            <a:pPr defTabSz="554492"/>
            <a:endParaRPr lang="fr-LU" sz="1092">
              <a:solidFill>
                <a:srgbClr val="58585A"/>
              </a:solidFill>
              <a:latin typeface="Arial"/>
            </a:endParaRPr>
          </a:p>
          <a:p>
            <a:pPr defTabSz="554492"/>
            <a:r>
              <a:rPr lang="fr-LU" sz="1092" err="1">
                <a:solidFill>
                  <a:srgbClr val="58585A"/>
                </a:solidFill>
                <a:latin typeface="Arial"/>
              </a:rPr>
              <a:t>My</a:t>
            </a:r>
            <a:r>
              <a:rPr lang="fr-LU" sz="1092">
                <a:solidFill>
                  <a:srgbClr val="58585A"/>
                </a:solidFill>
                <a:latin typeface="Arial"/>
              </a:rPr>
              <a:t> objectives …</a:t>
            </a:r>
          </a:p>
          <a:p>
            <a:pPr defTabSz="554492"/>
            <a:endParaRPr lang="fr-LU" sz="1092">
              <a:solidFill>
                <a:srgbClr val="58585A"/>
              </a:solidFill>
              <a:latin typeface="Arial"/>
            </a:endParaRPr>
          </a:p>
          <a:p>
            <a:pPr defTabSz="554492"/>
            <a:r>
              <a:rPr lang="fr-LU" sz="1092" err="1">
                <a:solidFill>
                  <a:srgbClr val="58585A"/>
                </a:solidFill>
                <a:latin typeface="Arial"/>
              </a:rPr>
              <a:t>My</a:t>
            </a:r>
            <a:r>
              <a:rPr lang="fr-LU" sz="1092">
                <a:solidFill>
                  <a:srgbClr val="58585A"/>
                </a:solidFill>
                <a:latin typeface="Arial"/>
              </a:rPr>
              <a:t> </a:t>
            </a:r>
            <a:r>
              <a:rPr lang="fr-LU" sz="1092" err="1">
                <a:solidFill>
                  <a:srgbClr val="58585A"/>
                </a:solidFill>
                <a:latin typeface="Arial"/>
              </a:rPr>
              <a:t>limits</a:t>
            </a:r>
            <a:endParaRPr lang="fr-LU" sz="1092">
              <a:solidFill>
                <a:srgbClr val="58585A"/>
              </a:solidFill>
              <a:latin typeface="Arial"/>
            </a:endParaRPr>
          </a:p>
        </p:txBody>
      </p:sp>
      <p:sp>
        <p:nvSpPr>
          <p:cNvPr id="12" name="TextBox 11">
            <a:extLst>
              <a:ext uri="{FF2B5EF4-FFF2-40B4-BE49-F238E27FC236}">
                <a16:creationId xmlns:a16="http://schemas.microsoft.com/office/drawing/2014/main" id="{60385D02-0515-504C-622F-31848B7291EF}"/>
              </a:ext>
            </a:extLst>
          </p:cNvPr>
          <p:cNvSpPr txBox="1"/>
          <p:nvPr/>
        </p:nvSpPr>
        <p:spPr>
          <a:xfrm>
            <a:off x="8761792" y="5477095"/>
            <a:ext cx="1467266" cy="1268745"/>
          </a:xfrm>
          <a:prstGeom prst="rect">
            <a:avLst/>
          </a:prstGeom>
          <a:noFill/>
        </p:spPr>
        <p:txBody>
          <a:bodyPr wrap="square" rtlCol="0">
            <a:spAutoFit/>
          </a:bodyPr>
          <a:lstStyle/>
          <a:p>
            <a:pPr defTabSz="554492"/>
            <a:r>
              <a:rPr lang="fr-LU" sz="1092" err="1">
                <a:solidFill>
                  <a:srgbClr val="58585A"/>
                </a:solidFill>
                <a:latin typeface="Arial"/>
              </a:rPr>
              <a:t>What</a:t>
            </a:r>
            <a:r>
              <a:rPr lang="fr-LU" sz="1092">
                <a:solidFill>
                  <a:srgbClr val="58585A"/>
                </a:solidFill>
                <a:latin typeface="Arial"/>
              </a:rPr>
              <a:t> WE know…</a:t>
            </a:r>
          </a:p>
          <a:p>
            <a:pPr defTabSz="554492"/>
            <a:r>
              <a:rPr lang="fr-LU" sz="1092" err="1">
                <a:solidFill>
                  <a:srgbClr val="58585A"/>
                </a:solidFill>
                <a:latin typeface="Arial"/>
              </a:rPr>
              <a:t>What</a:t>
            </a:r>
            <a:r>
              <a:rPr lang="fr-LU" sz="1092">
                <a:solidFill>
                  <a:srgbClr val="58585A"/>
                </a:solidFill>
                <a:latin typeface="Arial"/>
              </a:rPr>
              <a:t> WE </a:t>
            </a:r>
            <a:r>
              <a:rPr lang="fr-LU" sz="1092" err="1">
                <a:solidFill>
                  <a:srgbClr val="58585A"/>
                </a:solidFill>
                <a:latin typeface="Arial"/>
              </a:rPr>
              <a:t>want</a:t>
            </a:r>
            <a:r>
              <a:rPr lang="fr-LU" sz="1092">
                <a:solidFill>
                  <a:srgbClr val="58585A"/>
                </a:solidFill>
                <a:latin typeface="Arial"/>
              </a:rPr>
              <a:t>…</a:t>
            </a:r>
          </a:p>
          <a:p>
            <a:pPr defTabSz="554492"/>
            <a:r>
              <a:rPr lang="fr-LU" sz="1092" err="1">
                <a:solidFill>
                  <a:srgbClr val="58585A"/>
                </a:solidFill>
                <a:latin typeface="Arial"/>
              </a:rPr>
              <a:t>What</a:t>
            </a:r>
            <a:r>
              <a:rPr lang="fr-LU" sz="1092">
                <a:solidFill>
                  <a:srgbClr val="58585A"/>
                </a:solidFill>
                <a:latin typeface="Arial"/>
              </a:rPr>
              <a:t> WE can… </a:t>
            </a:r>
          </a:p>
          <a:p>
            <a:pPr defTabSz="554492"/>
            <a:endParaRPr lang="fr-LU" sz="1092">
              <a:solidFill>
                <a:srgbClr val="58585A"/>
              </a:solidFill>
              <a:latin typeface="Arial"/>
            </a:endParaRPr>
          </a:p>
          <a:p>
            <a:pPr defTabSz="554492"/>
            <a:r>
              <a:rPr lang="fr-LU" sz="1092">
                <a:solidFill>
                  <a:srgbClr val="58585A"/>
                </a:solidFill>
                <a:latin typeface="Arial"/>
              </a:rPr>
              <a:t>Our objectives …</a:t>
            </a:r>
          </a:p>
          <a:p>
            <a:pPr defTabSz="554492"/>
            <a:endParaRPr lang="fr-LU" sz="1092">
              <a:solidFill>
                <a:srgbClr val="58585A"/>
              </a:solidFill>
              <a:latin typeface="Arial"/>
            </a:endParaRPr>
          </a:p>
          <a:p>
            <a:pPr defTabSz="554492"/>
            <a:r>
              <a:rPr lang="fr-LU" sz="1092">
                <a:solidFill>
                  <a:srgbClr val="58585A"/>
                </a:solidFill>
                <a:latin typeface="Arial"/>
              </a:rPr>
              <a:t>Our </a:t>
            </a:r>
            <a:r>
              <a:rPr lang="fr-LU" sz="1092" err="1">
                <a:solidFill>
                  <a:srgbClr val="58585A"/>
                </a:solidFill>
                <a:latin typeface="Arial"/>
              </a:rPr>
              <a:t>limits</a:t>
            </a:r>
            <a:endParaRPr lang="fr-LU" sz="1092">
              <a:solidFill>
                <a:srgbClr val="58585A"/>
              </a:solidFill>
              <a:latin typeface="Arial"/>
            </a:endParaRPr>
          </a:p>
        </p:txBody>
      </p:sp>
      <p:sp>
        <p:nvSpPr>
          <p:cNvPr id="13" name="TextBox 12">
            <a:extLst>
              <a:ext uri="{FF2B5EF4-FFF2-40B4-BE49-F238E27FC236}">
                <a16:creationId xmlns:a16="http://schemas.microsoft.com/office/drawing/2014/main" id="{3D80D3A6-E744-5625-C64A-C7DA0B5747BE}"/>
              </a:ext>
            </a:extLst>
          </p:cNvPr>
          <p:cNvSpPr txBox="1"/>
          <p:nvPr/>
        </p:nvSpPr>
        <p:spPr>
          <a:xfrm>
            <a:off x="8739019" y="863113"/>
            <a:ext cx="1467266" cy="1268745"/>
          </a:xfrm>
          <a:prstGeom prst="rect">
            <a:avLst/>
          </a:prstGeom>
          <a:noFill/>
        </p:spPr>
        <p:txBody>
          <a:bodyPr wrap="square" rtlCol="0">
            <a:spAutoFit/>
          </a:bodyPr>
          <a:lstStyle/>
          <a:p>
            <a:pPr defTabSz="554492"/>
            <a:r>
              <a:rPr lang="fr-LU" sz="1092" err="1">
                <a:solidFill>
                  <a:srgbClr val="58585A"/>
                </a:solidFill>
                <a:latin typeface="Arial"/>
              </a:rPr>
              <a:t>What</a:t>
            </a:r>
            <a:r>
              <a:rPr lang="fr-LU" sz="1092">
                <a:solidFill>
                  <a:srgbClr val="58585A"/>
                </a:solidFill>
                <a:latin typeface="Arial"/>
              </a:rPr>
              <a:t> THEY know…</a:t>
            </a:r>
          </a:p>
          <a:p>
            <a:pPr defTabSz="554492"/>
            <a:r>
              <a:rPr lang="fr-LU" sz="1092" err="1">
                <a:solidFill>
                  <a:srgbClr val="58585A"/>
                </a:solidFill>
                <a:latin typeface="Arial"/>
              </a:rPr>
              <a:t>What</a:t>
            </a:r>
            <a:r>
              <a:rPr lang="fr-LU" sz="1092">
                <a:solidFill>
                  <a:srgbClr val="58585A"/>
                </a:solidFill>
                <a:latin typeface="Arial"/>
              </a:rPr>
              <a:t> THEY </a:t>
            </a:r>
            <a:r>
              <a:rPr lang="fr-LU" sz="1092" err="1">
                <a:solidFill>
                  <a:srgbClr val="58585A"/>
                </a:solidFill>
                <a:latin typeface="Arial"/>
              </a:rPr>
              <a:t>want</a:t>
            </a:r>
            <a:r>
              <a:rPr lang="fr-LU" sz="1092">
                <a:solidFill>
                  <a:srgbClr val="58585A"/>
                </a:solidFill>
                <a:latin typeface="Arial"/>
              </a:rPr>
              <a:t>…</a:t>
            </a:r>
          </a:p>
          <a:p>
            <a:pPr defTabSz="554492"/>
            <a:r>
              <a:rPr lang="fr-LU" sz="1092" err="1">
                <a:solidFill>
                  <a:srgbClr val="58585A"/>
                </a:solidFill>
                <a:latin typeface="Arial"/>
              </a:rPr>
              <a:t>What</a:t>
            </a:r>
            <a:r>
              <a:rPr lang="fr-LU" sz="1092">
                <a:solidFill>
                  <a:srgbClr val="58585A"/>
                </a:solidFill>
                <a:latin typeface="Arial"/>
              </a:rPr>
              <a:t> THEY can… </a:t>
            </a:r>
          </a:p>
          <a:p>
            <a:pPr defTabSz="554492"/>
            <a:endParaRPr lang="fr-LU" sz="1092">
              <a:solidFill>
                <a:srgbClr val="58585A"/>
              </a:solidFill>
              <a:latin typeface="Arial"/>
            </a:endParaRPr>
          </a:p>
          <a:p>
            <a:pPr defTabSz="554492"/>
            <a:r>
              <a:rPr lang="fr-LU" sz="1092" err="1">
                <a:solidFill>
                  <a:srgbClr val="58585A"/>
                </a:solidFill>
                <a:latin typeface="Arial"/>
              </a:rPr>
              <a:t>Their</a:t>
            </a:r>
            <a:r>
              <a:rPr lang="fr-LU" sz="1092">
                <a:solidFill>
                  <a:srgbClr val="58585A"/>
                </a:solidFill>
                <a:latin typeface="Arial"/>
              </a:rPr>
              <a:t> objectives …</a:t>
            </a:r>
          </a:p>
          <a:p>
            <a:pPr defTabSz="554492"/>
            <a:endParaRPr lang="fr-LU" sz="1092">
              <a:solidFill>
                <a:srgbClr val="58585A"/>
              </a:solidFill>
              <a:latin typeface="Arial"/>
            </a:endParaRPr>
          </a:p>
          <a:p>
            <a:pPr defTabSz="554492"/>
            <a:r>
              <a:rPr lang="fr-LU" sz="1092" err="1">
                <a:solidFill>
                  <a:srgbClr val="58585A"/>
                </a:solidFill>
                <a:latin typeface="Arial"/>
              </a:rPr>
              <a:t>Their</a:t>
            </a:r>
            <a:r>
              <a:rPr lang="fr-LU" sz="1092">
                <a:solidFill>
                  <a:srgbClr val="58585A"/>
                </a:solidFill>
                <a:latin typeface="Arial"/>
              </a:rPr>
              <a:t> </a:t>
            </a:r>
            <a:r>
              <a:rPr lang="fr-LU" sz="1092" err="1">
                <a:solidFill>
                  <a:srgbClr val="58585A"/>
                </a:solidFill>
                <a:latin typeface="Arial"/>
              </a:rPr>
              <a:t>limits</a:t>
            </a:r>
            <a:r>
              <a:rPr lang="fr-LU" sz="1092">
                <a:solidFill>
                  <a:srgbClr val="58585A"/>
                </a:solidFill>
                <a:latin typeface="Arial"/>
              </a:rPr>
              <a:t> …</a:t>
            </a:r>
          </a:p>
        </p:txBody>
      </p:sp>
      <p:sp>
        <p:nvSpPr>
          <p:cNvPr id="17" name="Oval 16">
            <a:extLst>
              <a:ext uri="{FF2B5EF4-FFF2-40B4-BE49-F238E27FC236}">
                <a16:creationId xmlns:a16="http://schemas.microsoft.com/office/drawing/2014/main" id="{C34FD4FC-A4E9-86E4-2ED0-3A670FD2AE9E}"/>
              </a:ext>
            </a:extLst>
          </p:cNvPr>
          <p:cNvSpPr/>
          <p:nvPr/>
        </p:nvSpPr>
        <p:spPr>
          <a:xfrm>
            <a:off x="1134501" y="2109071"/>
            <a:ext cx="3056261" cy="3056261"/>
          </a:xfrm>
          <a:prstGeom prst="ellipse">
            <a:avLst/>
          </a:prstGeom>
          <a:solidFill>
            <a:schemeClr val="bg1"/>
          </a:solid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92"/>
            <a:r>
              <a:rPr lang="fr-LU" sz="1092" b="1" err="1">
                <a:solidFill>
                  <a:srgbClr val="58585A">
                    <a:lumMod val="50000"/>
                  </a:srgbClr>
                </a:solidFill>
                <a:latin typeface="Arial"/>
              </a:rPr>
              <a:t>Internal</a:t>
            </a:r>
            <a:r>
              <a:rPr lang="fr-LU" sz="1092" b="1">
                <a:solidFill>
                  <a:srgbClr val="58585A">
                    <a:lumMod val="50000"/>
                  </a:srgbClr>
                </a:solidFill>
                <a:latin typeface="Arial"/>
              </a:rPr>
              <a:t> =</a:t>
            </a:r>
          </a:p>
          <a:p>
            <a:pPr algn="ctr" defTabSz="554492"/>
            <a:r>
              <a:rPr lang="fr-LU" sz="1092" b="1">
                <a:solidFill>
                  <a:srgbClr val="58585A">
                    <a:lumMod val="50000"/>
                  </a:srgbClr>
                </a:solidFill>
                <a:latin typeface="Arial"/>
              </a:rPr>
              <a:t>Workshop</a:t>
            </a:r>
          </a:p>
        </p:txBody>
      </p:sp>
      <p:sp>
        <p:nvSpPr>
          <p:cNvPr id="26" name="Oval 25">
            <a:extLst>
              <a:ext uri="{FF2B5EF4-FFF2-40B4-BE49-F238E27FC236}">
                <a16:creationId xmlns:a16="http://schemas.microsoft.com/office/drawing/2014/main" id="{DB3A9549-8FBF-916F-8BB4-9C74F68A50AC}"/>
              </a:ext>
            </a:extLst>
          </p:cNvPr>
          <p:cNvSpPr/>
          <p:nvPr/>
        </p:nvSpPr>
        <p:spPr>
          <a:xfrm>
            <a:off x="1258362" y="3163176"/>
            <a:ext cx="873217" cy="873217"/>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54492"/>
            <a:r>
              <a:rPr lang="fr-LU" sz="1092">
                <a:solidFill>
                  <a:srgbClr val="58585A">
                    <a:lumMod val="50000"/>
                  </a:srgbClr>
                </a:solidFill>
                <a:latin typeface="Arial"/>
              </a:rPr>
              <a:t>US</a:t>
            </a:r>
          </a:p>
        </p:txBody>
      </p:sp>
      <p:sp>
        <p:nvSpPr>
          <p:cNvPr id="28" name="Oval 27">
            <a:extLst>
              <a:ext uri="{FF2B5EF4-FFF2-40B4-BE49-F238E27FC236}">
                <a16:creationId xmlns:a16="http://schemas.microsoft.com/office/drawing/2014/main" id="{E87AEEA6-D77A-B184-548A-3A05390427C2}"/>
              </a:ext>
            </a:extLst>
          </p:cNvPr>
          <p:cNvSpPr/>
          <p:nvPr/>
        </p:nvSpPr>
        <p:spPr>
          <a:xfrm>
            <a:off x="2652395" y="4232007"/>
            <a:ext cx="654913" cy="6549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FFFFFF"/>
                </a:solidFill>
                <a:latin typeface="Arial"/>
              </a:rPr>
              <a:t>THEM</a:t>
            </a:r>
          </a:p>
        </p:txBody>
      </p:sp>
      <p:sp>
        <p:nvSpPr>
          <p:cNvPr id="31" name="Oval 30">
            <a:extLst>
              <a:ext uri="{FF2B5EF4-FFF2-40B4-BE49-F238E27FC236}">
                <a16:creationId xmlns:a16="http://schemas.microsoft.com/office/drawing/2014/main" id="{756950A8-2A3C-EF2D-EAE0-D14D0BD48BFA}"/>
              </a:ext>
            </a:extLst>
          </p:cNvPr>
          <p:cNvSpPr/>
          <p:nvPr/>
        </p:nvSpPr>
        <p:spPr>
          <a:xfrm>
            <a:off x="3128657" y="2702744"/>
            <a:ext cx="654913" cy="6549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FFFFFF"/>
                </a:solidFill>
                <a:latin typeface="Arial"/>
              </a:rPr>
              <a:t>THEM</a:t>
            </a:r>
          </a:p>
        </p:txBody>
      </p:sp>
      <p:sp>
        <p:nvSpPr>
          <p:cNvPr id="33" name="Oval 32">
            <a:extLst>
              <a:ext uri="{FF2B5EF4-FFF2-40B4-BE49-F238E27FC236}">
                <a16:creationId xmlns:a16="http://schemas.microsoft.com/office/drawing/2014/main" id="{D3D611F4-BA51-33FD-8CF3-A2302E3667AA}"/>
              </a:ext>
            </a:extLst>
          </p:cNvPr>
          <p:cNvSpPr/>
          <p:nvPr/>
        </p:nvSpPr>
        <p:spPr>
          <a:xfrm>
            <a:off x="2384523" y="3196526"/>
            <a:ext cx="654913" cy="6549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FFFFFF"/>
                </a:solidFill>
                <a:latin typeface="Arial"/>
              </a:rPr>
              <a:t>THEM</a:t>
            </a:r>
          </a:p>
        </p:txBody>
      </p:sp>
      <p:sp>
        <p:nvSpPr>
          <p:cNvPr id="35" name="Oval 34">
            <a:extLst>
              <a:ext uri="{FF2B5EF4-FFF2-40B4-BE49-F238E27FC236}">
                <a16:creationId xmlns:a16="http://schemas.microsoft.com/office/drawing/2014/main" id="{BD3DBFB2-7FAF-DCC6-2702-A041D9053E2C}"/>
              </a:ext>
            </a:extLst>
          </p:cNvPr>
          <p:cNvSpPr/>
          <p:nvPr/>
        </p:nvSpPr>
        <p:spPr>
          <a:xfrm>
            <a:off x="3253003" y="3640594"/>
            <a:ext cx="654913" cy="6549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FFFFFF"/>
                </a:solidFill>
                <a:latin typeface="Arial"/>
              </a:rPr>
              <a:t>THEM</a:t>
            </a:r>
          </a:p>
        </p:txBody>
      </p:sp>
      <p:sp>
        <p:nvSpPr>
          <p:cNvPr id="36" name="Oval 35">
            <a:extLst>
              <a:ext uri="{FF2B5EF4-FFF2-40B4-BE49-F238E27FC236}">
                <a16:creationId xmlns:a16="http://schemas.microsoft.com/office/drawing/2014/main" id="{435CB423-6D2D-DF1D-019F-D62F54F609E9}"/>
              </a:ext>
            </a:extLst>
          </p:cNvPr>
          <p:cNvSpPr/>
          <p:nvPr/>
        </p:nvSpPr>
        <p:spPr>
          <a:xfrm>
            <a:off x="1768941" y="4113123"/>
            <a:ext cx="654913" cy="6549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FFFFFF"/>
                </a:solidFill>
                <a:latin typeface="Arial"/>
              </a:rPr>
              <a:t>THEM</a:t>
            </a:r>
          </a:p>
        </p:txBody>
      </p:sp>
      <p:sp>
        <p:nvSpPr>
          <p:cNvPr id="38" name="Oval 37">
            <a:extLst>
              <a:ext uri="{FF2B5EF4-FFF2-40B4-BE49-F238E27FC236}">
                <a16:creationId xmlns:a16="http://schemas.microsoft.com/office/drawing/2014/main" id="{D6635F92-466B-E751-E8B7-8262405F24AB}"/>
              </a:ext>
            </a:extLst>
          </p:cNvPr>
          <p:cNvSpPr/>
          <p:nvPr/>
        </p:nvSpPr>
        <p:spPr>
          <a:xfrm>
            <a:off x="1302683" y="3454511"/>
            <a:ext cx="384584" cy="396928"/>
          </a:xfrm>
          <a:prstGeom prst="ellipse">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400" b="1">
                <a:solidFill>
                  <a:srgbClr val="58585A">
                    <a:lumMod val="50000"/>
                  </a:srgbClr>
                </a:solidFill>
                <a:latin typeface="Arial"/>
              </a:rPr>
              <a:t>THEM</a:t>
            </a:r>
          </a:p>
        </p:txBody>
      </p:sp>
      <p:sp>
        <p:nvSpPr>
          <p:cNvPr id="39" name="Oval 38">
            <a:extLst>
              <a:ext uri="{FF2B5EF4-FFF2-40B4-BE49-F238E27FC236}">
                <a16:creationId xmlns:a16="http://schemas.microsoft.com/office/drawing/2014/main" id="{B73E4598-0AA5-2BF2-A743-6A1AB2B94382}"/>
              </a:ext>
            </a:extLst>
          </p:cNvPr>
          <p:cNvSpPr/>
          <p:nvPr/>
        </p:nvSpPr>
        <p:spPr>
          <a:xfrm>
            <a:off x="1834391" y="3548702"/>
            <a:ext cx="183524" cy="19392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364" b="1">
                <a:solidFill>
                  <a:srgbClr val="58585A">
                    <a:lumMod val="50000"/>
                  </a:srgbClr>
                </a:solidFill>
                <a:latin typeface="Arial"/>
              </a:rPr>
              <a:t>ME</a:t>
            </a:r>
          </a:p>
        </p:txBody>
      </p:sp>
      <p:sp>
        <p:nvSpPr>
          <p:cNvPr id="41" name="Oval 40">
            <a:extLst>
              <a:ext uri="{FF2B5EF4-FFF2-40B4-BE49-F238E27FC236}">
                <a16:creationId xmlns:a16="http://schemas.microsoft.com/office/drawing/2014/main" id="{3F785126-1C99-E964-B5F7-07DBAA15ADA4}"/>
              </a:ext>
            </a:extLst>
          </p:cNvPr>
          <p:cNvSpPr/>
          <p:nvPr/>
        </p:nvSpPr>
        <p:spPr>
          <a:xfrm>
            <a:off x="623741" y="2231238"/>
            <a:ext cx="654913" cy="654913"/>
          </a:xfrm>
          <a:prstGeom prst="ellips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58585A">
                    <a:lumMod val="50000"/>
                  </a:srgbClr>
                </a:solidFill>
                <a:latin typeface="Arial"/>
              </a:rPr>
              <a:t>THEM</a:t>
            </a:r>
          </a:p>
        </p:txBody>
      </p:sp>
      <p:sp>
        <p:nvSpPr>
          <p:cNvPr id="42" name="Oval 41">
            <a:extLst>
              <a:ext uri="{FF2B5EF4-FFF2-40B4-BE49-F238E27FC236}">
                <a16:creationId xmlns:a16="http://schemas.microsoft.com/office/drawing/2014/main" id="{835DF4E7-41FF-6F07-5192-975A4F7D3DBF}"/>
              </a:ext>
            </a:extLst>
          </p:cNvPr>
          <p:cNvSpPr/>
          <p:nvPr/>
        </p:nvSpPr>
        <p:spPr>
          <a:xfrm>
            <a:off x="645022" y="4623294"/>
            <a:ext cx="654913" cy="654913"/>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58585A">
                    <a:lumMod val="50000"/>
                  </a:srgbClr>
                </a:solidFill>
                <a:latin typeface="Arial"/>
              </a:rPr>
              <a:t>THEM</a:t>
            </a:r>
          </a:p>
        </p:txBody>
      </p:sp>
      <p:sp>
        <p:nvSpPr>
          <p:cNvPr id="49" name="Oval 48">
            <a:extLst>
              <a:ext uri="{FF2B5EF4-FFF2-40B4-BE49-F238E27FC236}">
                <a16:creationId xmlns:a16="http://schemas.microsoft.com/office/drawing/2014/main" id="{AA048B46-2107-D95D-9E3C-96FACD752DA3}"/>
              </a:ext>
            </a:extLst>
          </p:cNvPr>
          <p:cNvSpPr/>
          <p:nvPr/>
        </p:nvSpPr>
        <p:spPr>
          <a:xfrm>
            <a:off x="3836536" y="1981713"/>
            <a:ext cx="654913" cy="654913"/>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b="1">
                <a:solidFill>
                  <a:srgbClr val="58585A">
                    <a:lumMod val="50000"/>
                  </a:srgbClr>
                </a:solidFill>
                <a:latin typeface="Arial"/>
              </a:rPr>
              <a:t>THEM</a:t>
            </a:r>
          </a:p>
        </p:txBody>
      </p:sp>
      <p:sp>
        <p:nvSpPr>
          <p:cNvPr id="54" name="Arrow: Right 53">
            <a:extLst>
              <a:ext uri="{FF2B5EF4-FFF2-40B4-BE49-F238E27FC236}">
                <a16:creationId xmlns:a16="http://schemas.microsoft.com/office/drawing/2014/main" id="{F1FA50CA-B860-17D8-6384-CA50888046BF}"/>
              </a:ext>
            </a:extLst>
          </p:cNvPr>
          <p:cNvSpPr/>
          <p:nvPr/>
        </p:nvSpPr>
        <p:spPr>
          <a:xfrm>
            <a:off x="2168130" y="3491927"/>
            <a:ext cx="183310"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60" name="Arrow: Right 59">
            <a:extLst>
              <a:ext uri="{FF2B5EF4-FFF2-40B4-BE49-F238E27FC236}">
                <a16:creationId xmlns:a16="http://schemas.microsoft.com/office/drawing/2014/main" id="{DA79CE98-6706-7197-71A8-B674ED0C09A2}"/>
              </a:ext>
            </a:extLst>
          </p:cNvPr>
          <p:cNvSpPr/>
          <p:nvPr/>
        </p:nvSpPr>
        <p:spPr>
          <a:xfrm rot="4390553">
            <a:off x="2678089" y="3986268"/>
            <a:ext cx="331097"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64" name="Arrow: Right 63">
            <a:extLst>
              <a:ext uri="{FF2B5EF4-FFF2-40B4-BE49-F238E27FC236}">
                <a16:creationId xmlns:a16="http://schemas.microsoft.com/office/drawing/2014/main" id="{123DEBF6-1FDF-602A-48B4-157B96D42E1A}"/>
              </a:ext>
            </a:extLst>
          </p:cNvPr>
          <p:cNvSpPr/>
          <p:nvPr/>
        </p:nvSpPr>
        <p:spPr>
          <a:xfrm rot="7342540">
            <a:off x="2204680" y="3930873"/>
            <a:ext cx="281386"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65" name="Arrow: Right 64">
            <a:extLst>
              <a:ext uri="{FF2B5EF4-FFF2-40B4-BE49-F238E27FC236}">
                <a16:creationId xmlns:a16="http://schemas.microsoft.com/office/drawing/2014/main" id="{D62128F5-7CD1-D08F-FD1A-670446E92EC5}"/>
              </a:ext>
            </a:extLst>
          </p:cNvPr>
          <p:cNvSpPr/>
          <p:nvPr/>
        </p:nvSpPr>
        <p:spPr>
          <a:xfrm>
            <a:off x="2458991" y="4420951"/>
            <a:ext cx="183310"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0" name="Arrow: Right 69">
            <a:extLst>
              <a:ext uri="{FF2B5EF4-FFF2-40B4-BE49-F238E27FC236}">
                <a16:creationId xmlns:a16="http://schemas.microsoft.com/office/drawing/2014/main" id="{D648BC7D-0C8A-4034-C255-2206EE6C0457}"/>
              </a:ext>
            </a:extLst>
          </p:cNvPr>
          <p:cNvSpPr/>
          <p:nvPr/>
        </p:nvSpPr>
        <p:spPr>
          <a:xfrm rot="19189266">
            <a:off x="2977686" y="3194015"/>
            <a:ext cx="183310"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1" name="Arrow: Right 70">
            <a:extLst>
              <a:ext uri="{FF2B5EF4-FFF2-40B4-BE49-F238E27FC236}">
                <a16:creationId xmlns:a16="http://schemas.microsoft.com/office/drawing/2014/main" id="{13FA5812-4CC2-83BF-56F5-5515CA577888}"/>
              </a:ext>
            </a:extLst>
          </p:cNvPr>
          <p:cNvSpPr/>
          <p:nvPr/>
        </p:nvSpPr>
        <p:spPr>
          <a:xfrm rot="13771248">
            <a:off x="1065633" y="2994985"/>
            <a:ext cx="411123"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2" name="Arrow: Right 71">
            <a:extLst>
              <a:ext uri="{FF2B5EF4-FFF2-40B4-BE49-F238E27FC236}">
                <a16:creationId xmlns:a16="http://schemas.microsoft.com/office/drawing/2014/main" id="{02E4BE2D-F60D-6588-6962-339DA490AFD3}"/>
              </a:ext>
            </a:extLst>
          </p:cNvPr>
          <p:cNvSpPr/>
          <p:nvPr/>
        </p:nvSpPr>
        <p:spPr>
          <a:xfrm>
            <a:off x="1715583" y="3517750"/>
            <a:ext cx="96425"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3" name="Arrow: Right 72">
            <a:extLst>
              <a:ext uri="{FF2B5EF4-FFF2-40B4-BE49-F238E27FC236}">
                <a16:creationId xmlns:a16="http://schemas.microsoft.com/office/drawing/2014/main" id="{2FAC5D9C-C8A2-CD54-1F9D-C8444C6A5EB6}"/>
              </a:ext>
            </a:extLst>
          </p:cNvPr>
          <p:cNvSpPr/>
          <p:nvPr/>
        </p:nvSpPr>
        <p:spPr>
          <a:xfrm rot="10800000">
            <a:off x="1708926" y="3676543"/>
            <a:ext cx="96425"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4" name="Arrow: Right 73">
            <a:extLst>
              <a:ext uri="{FF2B5EF4-FFF2-40B4-BE49-F238E27FC236}">
                <a16:creationId xmlns:a16="http://schemas.microsoft.com/office/drawing/2014/main" id="{76D861CB-E42A-6519-D487-4A2DC80D3266}"/>
              </a:ext>
            </a:extLst>
          </p:cNvPr>
          <p:cNvSpPr/>
          <p:nvPr/>
        </p:nvSpPr>
        <p:spPr>
          <a:xfrm rot="3638965">
            <a:off x="1868807" y="4008366"/>
            <a:ext cx="102805"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5" name="Arrow: Right 74">
            <a:extLst>
              <a:ext uri="{FF2B5EF4-FFF2-40B4-BE49-F238E27FC236}">
                <a16:creationId xmlns:a16="http://schemas.microsoft.com/office/drawing/2014/main" id="{6F6A3F21-7C4D-1A63-D0D6-82D0EF5EEBE8}"/>
              </a:ext>
            </a:extLst>
          </p:cNvPr>
          <p:cNvSpPr/>
          <p:nvPr/>
        </p:nvSpPr>
        <p:spPr>
          <a:xfrm rot="18775842">
            <a:off x="3215349" y="4190389"/>
            <a:ext cx="127206"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6" name="Arrow: Right 75">
            <a:extLst>
              <a:ext uri="{FF2B5EF4-FFF2-40B4-BE49-F238E27FC236}">
                <a16:creationId xmlns:a16="http://schemas.microsoft.com/office/drawing/2014/main" id="{FD880568-4849-CECA-7D97-D71BA4468176}"/>
              </a:ext>
            </a:extLst>
          </p:cNvPr>
          <p:cNvSpPr/>
          <p:nvPr/>
        </p:nvSpPr>
        <p:spPr>
          <a:xfrm rot="4390553">
            <a:off x="3441969" y="3446007"/>
            <a:ext cx="229955"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7" name="Arrow: Right 76">
            <a:extLst>
              <a:ext uri="{FF2B5EF4-FFF2-40B4-BE49-F238E27FC236}">
                <a16:creationId xmlns:a16="http://schemas.microsoft.com/office/drawing/2014/main" id="{B4CE8EFE-7C51-F2A6-1C9B-78485CE617AE}"/>
              </a:ext>
            </a:extLst>
          </p:cNvPr>
          <p:cNvSpPr/>
          <p:nvPr/>
        </p:nvSpPr>
        <p:spPr>
          <a:xfrm rot="8620851">
            <a:off x="1313049" y="4701948"/>
            <a:ext cx="454123"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8" name="Arrow: Right 77">
            <a:extLst>
              <a:ext uri="{FF2B5EF4-FFF2-40B4-BE49-F238E27FC236}">
                <a16:creationId xmlns:a16="http://schemas.microsoft.com/office/drawing/2014/main" id="{EF65974D-3456-9167-C39F-4630868CB456}"/>
              </a:ext>
            </a:extLst>
          </p:cNvPr>
          <p:cNvSpPr/>
          <p:nvPr/>
        </p:nvSpPr>
        <p:spPr>
          <a:xfrm rot="18141602">
            <a:off x="880436" y="4233643"/>
            <a:ext cx="698775"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79" name="Arrow: Right 78">
            <a:extLst>
              <a:ext uri="{FF2B5EF4-FFF2-40B4-BE49-F238E27FC236}">
                <a16:creationId xmlns:a16="http://schemas.microsoft.com/office/drawing/2014/main" id="{C3D0F9B7-EDC4-B9F2-38E9-78DECE4047E3}"/>
              </a:ext>
            </a:extLst>
          </p:cNvPr>
          <p:cNvSpPr/>
          <p:nvPr/>
        </p:nvSpPr>
        <p:spPr>
          <a:xfrm rot="19189266">
            <a:off x="3750311" y="2702487"/>
            <a:ext cx="310829"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80" name="Arrow: Right 79">
            <a:extLst>
              <a:ext uri="{FF2B5EF4-FFF2-40B4-BE49-F238E27FC236}">
                <a16:creationId xmlns:a16="http://schemas.microsoft.com/office/drawing/2014/main" id="{3E2C5F1E-A4E2-4F40-30B6-1555F1A79AD3}"/>
              </a:ext>
            </a:extLst>
          </p:cNvPr>
          <p:cNvSpPr/>
          <p:nvPr/>
        </p:nvSpPr>
        <p:spPr>
          <a:xfrm rot="8222739">
            <a:off x="3637532" y="2572550"/>
            <a:ext cx="281386"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81" name="Arrow: Right 80">
            <a:extLst>
              <a:ext uri="{FF2B5EF4-FFF2-40B4-BE49-F238E27FC236}">
                <a16:creationId xmlns:a16="http://schemas.microsoft.com/office/drawing/2014/main" id="{814F10DC-B604-B42C-75DF-233252E33FF5}"/>
              </a:ext>
            </a:extLst>
          </p:cNvPr>
          <p:cNvSpPr/>
          <p:nvPr/>
        </p:nvSpPr>
        <p:spPr>
          <a:xfrm rot="5400000">
            <a:off x="97919" y="3686646"/>
            <a:ext cx="1616123"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82" name="Oval 81">
            <a:extLst>
              <a:ext uri="{FF2B5EF4-FFF2-40B4-BE49-F238E27FC236}">
                <a16:creationId xmlns:a16="http://schemas.microsoft.com/office/drawing/2014/main" id="{F45DFB82-32CC-0D7A-D6B7-DE6873FB4BAE}"/>
              </a:ext>
            </a:extLst>
          </p:cNvPr>
          <p:cNvSpPr/>
          <p:nvPr/>
        </p:nvSpPr>
        <p:spPr>
          <a:xfrm>
            <a:off x="1655008" y="2378709"/>
            <a:ext cx="654913" cy="6549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700">
                <a:solidFill>
                  <a:srgbClr val="FFFFFF"/>
                </a:solidFill>
                <a:latin typeface="Arial"/>
              </a:rPr>
              <a:t>THEM</a:t>
            </a:r>
          </a:p>
        </p:txBody>
      </p:sp>
      <p:sp>
        <p:nvSpPr>
          <p:cNvPr id="83" name="Arrow: Right 82">
            <a:extLst>
              <a:ext uri="{FF2B5EF4-FFF2-40B4-BE49-F238E27FC236}">
                <a16:creationId xmlns:a16="http://schemas.microsoft.com/office/drawing/2014/main" id="{2DBB5E8E-F5C8-2922-F995-15086FEC3E11}"/>
              </a:ext>
            </a:extLst>
          </p:cNvPr>
          <p:cNvSpPr/>
          <p:nvPr/>
        </p:nvSpPr>
        <p:spPr>
          <a:xfrm rot="3027511">
            <a:off x="2237372" y="3037913"/>
            <a:ext cx="314448" cy="90554"/>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84" name="Arrow: Right 83">
            <a:extLst>
              <a:ext uri="{FF2B5EF4-FFF2-40B4-BE49-F238E27FC236}">
                <a16:creationId xmlns:a16="http://schemas.microsoft.com/office/drawing/2014/main" id="{C90979C9-07F4-5520-E612-A51A7DEB938C}"/>
              </a:ext>
            </a:extLst>
          </p:cNvPr>
          <p:cNvSpPr/>
          <p:nvPr/>
        </p:nvSpPr>
        <p:spPr>
          <a:xfrm rot="6680261">
            <a:off x="1738731" y="3021636"/>
            <a:ext cx="102805" cy="113549"/>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86" name="TextBox 85">
            <a:extLst>
              <a:ext uri="{FF2B5EF4-FFF2-40B4-BE49-F238E27FC236}">
                <a16:creationId xmlns:a16="http://schemas.microsoft.com/office/drawing/2014/main" id="{2B41D44E-6FAC-E24F-1D08-DD48FD0D1C43}"/>
              </a:ext>
            </a:extLst>
          </p:cNvPr>
          <p:cNvSpPr txBox="1"/>
          <p:nvPr/>
        </p:nvSpPr>
        <p:spPr>
          <a:xfrm>
            <a:off x="401316" y="5634463"/>
            <a:ext cx="4270035" cy="876202"/>
          </a:xfrm>
          <a:prstGeom prst="rect">
            <a:avLst/>
          </a:prstGeom>
          <a:noFill/>
        </p:spPr>
        <p:txBody>
          <a:bodyPr wrap="square" rtlCol="0">
            <a:spAutoFit/>
          </a:bodyPr>
          <a:lstStyle/>
          <a:p>
            <a:pPr algn="ctr" defTabSz="554492"/>
            <a:r>
              <a:rPr lang="fr-LU" sz="1698" b="1">
                <a:solidFill>
                  <a:srgbClr val="58585A"/>
                </a:solidFill>
                <a:latin typeface="Arial"/>
              </a:rPr>
              <a:t>Lots of cross-interactions, </a:t>
            </a:r>
            <a:r>
              <a:rPr lang="fr-LU" sz="1698" b="1" err="1">
                <a:solidFill>
                  <a:srgbClr val="58585A"/>
                </a:solidFill>
                <a:latin typeface="Arial"/>
              </a:rPr>
              <a:t>requests</a:t>
            </a:r>
            <a:r>
              <a:rPr lang="fr-LU" sz="1698" b="1">
                <a:solidFill>
                  <a:srgbClr val="58585A"/>
                </a:solidFill>
                <a:latin typeface="Arial"/>
              </a:rPr>
              <a:t> influences, directives …</a:t>
            </a:r>
          </a:p>
          <a:p>
            <a:pPr algn="ctr" defTabSz="554492"/>
            <a:r>
              <a:rPr lang="fr-LU" sz="1698" b="1">
                <a:solidFill>
                  <a:srgbClr val="58585A"/>
                </a:solidFill>
                <a:latin typeface="Arial"/>
              </a:rPr>
              <a:t>ME / OTHERS  </a:t>
            </a:r>
          </a:p>
        </p:txBody>
      </p:sp>
      <p:graphicFrame>
        <p:nvGraphicFramePr>
          <p:cNvPr id="14" name="Diagram 13">
            <a:extLst>
              <a:ext uri="{FF2B5EF4-FFF2-40B4-BE49-F238E27FC236}">
                <a16:creationId xmlns:a16="http://schemas.microsoft.com/office/drawing/2014/main" id="{552AADBC-62F9-3273-C5A8-B8ED6BB1DAD2}"/>
              </a:ext>
            </a:extLst>
          </p:cNvPr>
          <p:cNvGraphicFramePr/>
          <p:nvPr/>
        </p:nvGraphicFramePr>
        <p:xfrm>
          <a:off x="9035698" y="2221486"/>
          <a:ext cx="2525493" cy="259252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6" name="Arrow: Down 15">
            <a:extLst>
              <a:ext uri="{FF2B5EF4-FFF2-40B4-BE49-F238E27FC236}">
                <a16:creationId xmlns:a16="http://schemas.microsoft.com/office/drawing/2014/main" id="{9E312D35-8BB0-E412-87CB-7EF36BE36BDC}"/>
              </a:ext>
            </a:extLst>
          </p:cNvPr>
          <p:cNvSpPr/>
          <p:nvPr/>
        </p:nvSpPr>
        <p:spPr>
          <a:xfrm>
            <a:off x="9573500" y="1981488"/>
            <a:ext cx="332990" cy="455138"/>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fr-LU" sz="1092">
              <a:solidFill>
                <a:srgbClr val="FFFFFF"/>
              </a:solidFill>
              <a:latin typeface="Arial"/>
            </a:endParaRPr>
          </a:p>
        </p:txBody>
      </p:sp>
      <p:sp>
        <p:nvSpPr>
          <p:cNvPr id="19" name="Arrow: Up 18">
            <a:extLst>
              <a:ext uri="{FF2B5EF4-FFF2-40B4-BE49-F238E27FC236}">
                <a16:creationId xmlns:a16="http://schemas.microsoft.com/office/drawing/2014/main" id="{15D361AB-F664-E7D7-F77F-327A8B34047C}"/>
              </a:ext>
            </a:extLst>
          </p:cNvPr>
          <p:cNvSpPr/>
          <p:nvPr/>
        </p:nvSpPr>
        <p:spPr>
          <a:xfrm>
            <a:off x="9626423" y="4637638"/>
            <a:ext cx="335701" cy="479313"/>
          </a:xfrm>
          <a:prstGeom prst="up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fr-LU" sz="1092">
              <a:solidFill>
                <a:srgbClr val="FFFFFF"/>
              </a:solidFill>
              <a:latin typeface="Arial"/>
            </a:endParaRPr>
          </a:p>
        </p:txBody>
      </p:sp>
      <p:sp>
        <p:nvSpPr>
          <p:cNvPr id="21" name="Arrow: Right 20">
            <a:extLst>
              <a:ext uri="{FF2B5EF4-FFF2-40B4-BE49-F238E27FC236}">
                <a16:creationId xmlns:a16="http://schemas.microsoft.com/office/drawing/2014/main" id="{1D631684-794D-401C-A13E-806238BF7001}"/>
              </a:ext>
            </a:extLst>
          </p:cNvPr>
          <p:cNvSpPr/>
          <p:nvPr/>
        </p:nvSpPr>
        <p:spPr>
          <a:xfrm>
            <a:off x="10019784" y="2925352"/>
            <a:ext cx="1776614" cy="12955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1213" b="1">
                <a:solidFill>
                  <a:srgbClr val="FFFFFF"/>
                </a:solidFill>
                <a:latin typeface="Arial"/>
              </a:rPr>
              <a:t>Common actions</a:t>
            </a:r>
          </a:p>
          <a:p>
            <a:pPr algn="ctr" defTabSz="554492"/>
            <a:r>
              <a:rPr lang="fr-LU" sz="1213" b="1">
                <a:solidFill>
                  <a:srgbClr val="FFFFFF"/>
                </a:solidFill>
                <a:latin typeface="Arial"/>
              </a:rPr>
              <a:t>to </a:t>
            </a:r>
            <a:r>
              <a:rPr lang="fr-LU" sz="1213" b="1" err="1">
                <a:solidFill>
                  <a:srgbClr val="FFFFFF"/>
                </a:solidFill>
                <a:latin typeface="Arial"/>
              </a:rPr>
              <a:t>reach</a:t>
            </a:r>
            <a:r>
              <a:rPr lang="fr-LU" sz="1213" b="1">
                <a:solidFill>
                  <a:srgbClr val="FFFFFF"/>
                </a:solidFill>
                <a:latin typeface="Arial"/>
              </a:rPr>
              <a:t>  </a:t>
            </a:r>
            <a:r>
              <a:rPr lang="fr-LU" sz="1213" b="1" err="1">
                <a:solidFill>
                  <a:srgbClr val="FFFFFF"/>
                </a:solidFill>
                <a:latin typeface="Arial"/>
              </a:rPr>
              <a:t>common</a:t>
            </a:r>
            <a:r>
              <a:rPr lang="fr-LU" sz="1213" b="1">
                <a:solidFill>
                  <a:srgbClr val="FFFFFF"/>
                </a:solidFill>
                <a:latin typeface="Arial"/>
              </a:rPr>
              <a:t>  goals</a:t>
            </a:r>
          </a:p>
        </p:txBody>
      </p:sp>
    </p:spTree>
    <p:extLst>
      <p:ext uri="{BB962C8B-B14F-4D97-AF65-F5344CB8AC3E}">
        <p14:creationId xmlns:p14="http://schemas.microsoft.com/office/powerpoint/2010/main" val="544307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7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7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8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8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7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77"/>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86"/>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2"/>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8"/>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1"/>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37"/>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43"/>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48"/>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5"/>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32"/>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45"/>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18"/>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4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40"/>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47"/>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51"/>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50"/>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34"/>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46"/>
                                        </p:tgtEl>
                                        <p:attrNameLst>
                                          <p:attrName>style.visibility</p:attrName>
                                        </p:attrNameLst>
                                      </p:cBhvr>
                                      <p:to>
                                        <p:strVal val="visible"/>
                                      </p:to>
                                    </p:set>
                                  </p:childTnLst>
                                </p:cTn>
                              </p:par>
                            </p:childTnLst>
                          </p:cTn>
                        </p:par>
                      </p:childTnLst>
                    </p:cTn>
                  </p:par>
                  <p:par>
                    <p:cTn id="125" fill="hold">
                      <p:stCondLst>
                        <p:cond delay="indefinite"/>
                      </p:stCondLst>
                      <p:childTnLst>
                        <p:par>
                          <p:cTn id="126" fill="hold">
                            <p:stCondLst>
                              <p:cond delay="0"/>
                            </p:stCondLst>
                            <p:childTnLst>
                              <p:par>
                                <p:cTn id="127" presetID="1" presetClass="entr" presetSubtype="0" fill="hold" grpId="0" nodeType="clickEffect">
                                  <p:stCondLst>
                                    <p:cond delay="0"/>
                                  </p:stCondLst>
                                  <p:childTnLst>
                                    <p:set>
                                      <p:cBhvr>
                                        <p:cTn id="128" dur="1" fill="hold">
                                          <p:stCondLst>
                                            <p:cond delay="0"/>
                                          </p:stCondLst>
                                        </p:cTn>
                                        <p:tgtEl>
                                          <p:spTgt spid="63"/>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66"/>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12"/>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nodeType="clickEffect">
                                  <p:stCondLst>
                                    <p:cond delay="0"/>
                                  </p:stCondLst>
                                  <p:childTnLst>
                                    <p:set>
                                      <p:cBhvr>
                                        <p:cTn id="138" dur="1" fill="hold">
                                          <p:stCondLst>
                                            <p:cond delay="0"/>
                                          </p:stCondLst>
                                        </p:cTn>
                                        <p:tgtEl>
                                          <p:spTgt spid="55"/>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56"/>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59"/>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61"/>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58"/>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57"/>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grpId="0" nodeType="clickEffect">
                                  <p:stCondLst>
                                    <p:cond delay="0"/>
                                  </p:stCondLst>
                                  <p:childTnLst>
                                    <p:set>
                                      <p:cBhvr>
                                        <p:cTn id="152" dur="1" fill="hold">
                                          <p:stCondLst>
                                            <p:cond delay="0"/>
                                          </p:stCondLst>
                                        </p:cTn>
                                        <p:tgtEl>
                                          <p:spTgt spid="62"/>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67"/>
                                        </p:tgtEl>
                                        <p:attrNameLst>
                                          <p:attrName>style.visibility</p:attrName>
                                        </p:attrNameLst>
                                      </p:cBhvr>
                                      <p:to>
                                        <p:strVal val="visible"/>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13"/>
                                        </p:tgtEl>
                                        <p:attrNameLst>
                                          <p:attrName>style.visibility</p:attrName>
                                        </p:attrNameLst>
                                      </p:cBhvr>
                                      <p:to>
                                        <p:strVal val="visible"/>
                                      </p:to>
                                    </p:set>
                                  </p:childTnLst>
                                </p:cTn>
                              </p:par>
                            </p:childTnLst>
                          </p:cTn>
                        </p:par>
                      </p:childTnLst>
                    </p:cTn>
                  </p:par>
                  <p:par>
                    <p:cTn id="159" fill="hold">
                      <p:stCondLst>
                        <p:cond delay="indefinite"/>
                      </p:stCondLst>
                      <p:childTnLst>
                        <p:par>
                          <p:cTn id="160" fill="hold">
                            <p:stCondLst>
                              <p:cond delay="0"/>
                            </p:stCondLst>
                            <p:childTnLst>
                              <p:par>
                                <p:cTn id="161" presetID="1" presetClass="entr" presetSubtype="0" fill="hold" grpId="0" nodeType="clickEffect">
                                  <p:stCondLst>
                                    <p:cond delay="0"/>
                                  </p:stCondLst>
                                  <p:childTnLst>
                                    <p:set>
                                      <p:cBhvr>
                                        <p:cTn id="162" dur="1" fill="hold">
                                          <p:stCondLst>
                                            <p:cond delay="0"/>
                                          </p:stCondLst>
                                        </p:cTn>
                                        <p:tgtEl>
                                          <p:spTgt spid="16"/>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19"/>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ntr" presetSubtype="0" fill="hold" grpId="0" nodeType="clickEffect">
                                  <p:stCondLst>
                                    <p:cond delay="0"/>
                                  </p:stCondLst>
                                  <p:childTnLst>
                                    <p:set>
                                      <p:cBhvr>
                                        <p:cTn id="168" dur="1" fill="hold">
                                          <p:stCondLst>
                                            <p:cond delay="0"/>
                                          </p:stCondLst>
                                        </p:cTn>
                                        <p:tgtEl>
                                          <p:spTgt spid="14"/>
                                        </p:tgtEl>
                                        <p:attrNameLst>
                                          <p:attrName>style.visibility</p:attrName>
                                        </p:attrNameLst>
                                      </p:cBhvr>
                                      <p:to>
                                        <p:strVal val="visible"/>
                                      </p:to>
                                    </p:set>
                                  </p:childTnLst>
                                </p:cTn>
                              </p:par>
                            </p:childTnLst>
                          </p:cTn>
                        </p:par>
                      </p:childTnLst>
                    </p:cTn>
                  </p:par>
                  <p:par>
                    <p:cTn id="169" fill="hold">
                      <p:stCondLst>
                        <p:cond delay="indefinite"/>
                      </p:stCondLst>
                      <p:childTnLst>
                        <p:par>
                          <p:cTn id="170" fill="hold">
                            <p:stCondLst>
                              <p:cond delay="0"/>
                            </p:stCondLst>
                            <p:childTnLst>
                              <p:par>
                                <p:cTn id="171" presetID="1" presetClass="entr" presetSubtype="0" fill="hold" grpId="0" nodeType="clickEffect">
                                  <p:stCondLst>
                                    <p:cond delay="0"/>
                                  </p:stCondLst>
                                  <p:childTnLst>
                                    <p:set>
                                      <p:cBhvr>
                                        <p:cTn id="17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2" grpId="0" animBg="1"/>
      <p:bldP spid="63" grpId="0" animBg="1"/>
      <p:bldP spid="43" grpId="0"/>
      <p:bldP spid="44" grpId="0"/>
      <p:bldP spid="45" grpId="0"/>
      <p:bldP spid="46" grpId="0"/>
      <p:bldP spid="47" grpId="0"/>
      <p:bldP spid="48" grpId="0"/>
      <p:bldP spid="51" grpId="0"/>
      <p:bldP spid="57" grpId="0"/>
      <p:bldP spid="58" grpId="0"/>
      <p:bldP spid="61" grpId="0"/>
      <p:bldP spid="66" grpId="0"/>
      <p:bldP spid="67" grpId="0"/>
      <p:bldP spid="8" grpId="0"/>
      <p:bldP spid="11" grpId="0"/>
      <p:bldP spid="12" grpId="0"/>
      <p:bldP spid="13" grpId="0"/>
      <p:bldP spid="17" grpId="0" animBg="1"/>
      <p:bldP spid="26" grpId="0" animBg="1"/>
      <p:bldP spid="28" grpId="0" animBg="1"/>
      <p:bldP spid="31" grpId="0" animBg="1"/>
      <p:bldP spid="33" grpId="0" animBg="1"/>
      <p:bldP spid="35" grpId="0" animBg="1"/>
      <p:bldP spid="36" grpId="0" animBg="1"/>
      <p:bldP spid="38" grpId="0" animBg="1"/>
      <p:bldP spid="39" grpId="0" animBg="1"/>
      <p:bldP spid="41" grpId="0" animBg="1"/>
      <p:bldP spid="42" grpId="0" animBg="1"/>
      <p:bldP spid="49" grpId="0" animBg="1"/>
      <p:bldP spid="54" grpId="0" animBg="1"/>
      <p:bldP spid="60" grpId="0" animBg="1"/>
      <p:bldP spid="64" grpId="0" animBg="1"/>
      <p:bldP spid="65"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6" grpId="0"/>
      <p:bldGraphic spid="14" grpId="0">
        <p:bldAsOne/>
      </p:bldGraphic>
      <p:bldP spid="16" grpId="0" animBg="1"/>
      <p:bldP spid="19" grpId="0" animBg="1"/>
      <p:bldP spid="2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raining human factors in onderhoud">
            <a:extLst>
              <a:ext uri="{FF2B5EF4-FFF2-40B4-BE49-F238E27FC236}">
                <a16:creationId xmlns:a16="http://schemas.microsoft.com/office/drawing/2014/main" id="{37E7B31E-F883-3279-0C85-1CD3409837B9}"/>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6325283" y="3098119"/>
            <a:ext cx="2041048" cy="199466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4" name="Content Placeholder 3">
            <a:extLst>
              <a:ext uri="{FF2B5EF4-FFF2-40B4-BE49-F238E27FC236}">
                <a16:creationId xmlns:a16="http://schemas.microsoft.com/office/drawing/2014/main" id="{967C0EDB-17ED-2E8A-0DE2-9CB18375218B}"/>
              </a:ext>
            </a:extLst>
          </p:cNvPr>
          <p:cNvSpPr>
            <a:spLocks noGrp="1"/>
          </p:cNvSpPr>
          <p:nvPr>
            <p:ph sz="half" idx="10"/>
          </p:nvPr>
        </p:nvSpPr>
        <p:spPr/>
        <p:txBody>
          <a:bodyPr/>
          <a:lstStyle/>
          <a:p>
            <a:r>
              <a:rPr lang="fr-LU" b="1"/>
              <a:t>Maintenance System Objectives</a:t>
            </a:r>
            <a:endParaRPr lang="fr-LU"/>
          </a:p>
          <a:p>
            <a:pPr marL="277246" indent="-277246">
              <a:buFont typeface="Arial" panose="020B0604020202020204" pitchFamily="34" charset="0"/>
              <a:buChar char="•"/>
            </a:pPr>
            <a:r>
              <a:rPr lang="fr-LU" sz="1455"/>
              <a:t>Safety</a:t>
            </a:r>
          </a:p>
          <a:p>
            <a:pPr marL="277246" indent="-277246">
              <a:buFont typeface="Arial" panose="020B0604020202020204" pitchFamily="34" charset="0"/>
              <a:buChar char="•"/>
            </a:pPr>
            <a:r>
              <a:rPr lang="fr-LU" sz="1455" err="1"/>
              <a:t>Reliability</a:t>
            </a:r>
            <a:endParaRPr lang="fr-LU" sz="1455"/>
          </a:p>
          <a:p>
            <a:pPr marL="277246" indent="-277246">
              <a:buFont typeface="Arial" panose="020B0604020202020204" pitchFamily="34" charset="0"/>
              <a:buChar char="•"/>
            </a:pPr>
            <a:r>
              <a:rPr lang="fr-LU" sz="1455" err="1"/>
              <a:t>Availability</a:t>
            </a:r>
            <a:endParaRPr lang="fr-LU" sz="1455"/>
          </a:p>
          <a:p>
            <a:pPr marL="277246" indent="-277246">
              <a:buFont typeface="Arial" panose="020B0604020202020204" pitchFamily="34" charset="0"/>
              <a:buChar char="•"/>
            </a:pPr>
            <a:r>
              <a:rPr lang="fr-LU" sz="1455" err="1"/>
              <a:t>Efficiency</a:t>
            </a:r>
            <a:endParaRPr lang="fr-LU" sz="1455"/>
          </a:p>
          <a:p>
            <a:endParaRPr lang="fr-LU"/>
          </a:p>
          <a:p>
            <a:endParaRPr lang="fr-LU"/>
          </a:p>
          <a:p>
            <a:endParaRPr lang="fr-LU"/>
          </a:p>
        </p:txBody>
      </p:sp>
      <p:sp>
        <p:nvSpPr>
          <p:cNvPr id="5" name="Title 4">
            <a:extLst>
              <a:ext uri="{FF2B5EF4-FFF2-40B4-BE49-F238E27FC236}">
                <a16:creationId xmlns:a16="http://schemas.microsoft.com/office/drawing/2014/main" id="{6884CFA3-B97E-139B-D17D-81353D5FF326}"/>
              </a:ext>
            </a:extLst>
          </p:cNvPr>
          <p:cNvSpPr>
            <a:spLocks noGrp="1"/>
          </p:cNvSpPr>
          <p:nvPr>
            <p:ph type="title"/>
          </p:nvPr>
        </p:nvSpPr>
        <p:spPr/>
        <p:txBody>
          <a:bodyPr/>
          <a:lstStyle/>
          <a:p>
            <a:r>
              <a:rPr lang="fr-LU"/>
              <a:t>MAINTENANCE SYSTEM PERFORMANCE</a:t>
            </a:r>
          </a:p>
        </p:txBody>
      </p:sp>
      <p:sp>
        <p:nvSpPr>
          <p:cNvPr id="6" name="Text Placeholder 5">
            <a:extLst>
              <a:ext uri="{FF2B5EF4-FFF2-40B4-BE49-F238E27FC236}">
                <a16:creationId xmlns:a16="http://schemas.microsoft.com/office/drawing/2014/main" id="{50C5E9AF-6CEB-FAB8-712E-29729BE76C80}"/>
              </a:ext>
            </a:extLst>
          </p:cNvPr>
          <p:cNvSpPr>
            <a:spLocks noGrp="1"/>
          </p:cNvSpPr>
          <p:nvPr>
            <p:ph type="body" sz="quarter" idx="12"/>
          </p:nvPr>
        </p:nvSpPr>
        <p:spPr/>
        <p:txBody>
          <a:bodyPr/>
          <a:lstStyle/>
          <a:p>
            <a:r>
              <a:rPr lang="fr-LU"/>
              <a:t>HOF are </a:t>
            </a:r>
            <a:r>
              <a:rPr lang="fr-LU" err="1"/>
              <a:t>everywhere</a:t>
            </a:r>
            <a:r>
              <a:rPr lang="fr-LU"/>
              <a:t> !</a:t>
            </a:r>
          </a:p>
        </p:txBody>
      </p:sp>
      <p:sp>
        <p:nvSpPr>
          <p:cNvPr id="7" name="Oval 6">
            <a:extLst>
              <a:ext uri="{FF2B5EF4-FFF2-40B4-BE49-F238E27FC236}">
                <a16:creationId xmlns:a16="http://schemas.microsoft.com/office/drawing/2014/main" id="{95A6AD9D-4051-ADDA-0115-A0135855BDEB}"/>
              </a:ext>
            </a:extLst>
          </p:cNvPr>
          <p:cNvSpPr/>
          <p:nvPr/>
        </p:nvSpPr>
        <p:spPr>
          <a:xfrm>
            <a:off x="1821467" y="5435952"/>
            <a:ext cx="1054659" cy="1041703"/>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970" b="1">
                <a:solidFill>
                  <a:srgbClr val="58585A"/>
                </a:solidFill>
                <a:latin typeface="Arial"/>
              </a:rPr>
              <a:t>As </a:t>
            </a:r>
            <a:r>
              <a:rPr lang="fr-LU" sz="970" b="1" err="1">
                <a:solidFill>
                  <a:srgbClr val="58585A"/>
                </a:solidFill>
                <a:latin typeface="Arial"/>
              </a:rPr>
              <a:t>it</a:t>
            </a:r>
            <a:r>
              <a:rPr lang="fr-LU" sz="970" b="1">
                <a:solidFill>
                  <a:srgbClr val="58585A"/>
                </a:solidFill>
                <a:latin typeface="Arial"/>
              </a:rPr>
              <a:t> </a:t>
            </a:r>
            <a:r>
              <a:rPr lang="fr-LU" sz="970" b="1" err="1">
                <a:solidFill>
                  <a:srgbClr val="58585A"/>
                </a:solidFill>
                <a:latin typeface="Arial"/>
              </a:rPr>
              <a:t>is</a:t>
            </a:r>
            <a:r>
              <a:rPr lang="fr-LU" sz="970" b="1">
                <a:solidFill>
                  <a:srgbClr val="58585A"/>
                </a:solidFill>
                <a:latin typeface="Arial"/>
              </a:rPr>
              <a:t> !</a:t>
            </a:r>
          </a:p>
        </p:txBody>
      </p:sp>
      <p:sp>
        <p:nvSpPr>
          <p:cNvPr id="14" name="Oval 13">
            <a:extLst>
              <a:ext uri="{FF2B5EF4-FFF2-40B4-BE49-F238E27FC236}">
                <a16:creationId xmlns:a16="http://schemas.microsoft.com/office/drawing/2014/main" id="{857CDA54-AE05-E37A-F60C-D85495438709}"/>
              </a:ext>
            </a:extLst>
          </p:cNvPr>
          <p:cNvSpPr/>
          <p:nvPr/>
        </p:nvSpPr>
        <p:spPr>
          <a:xfrm>
            <a:off x="6854382" y="1339314"/>
            <a:ext cx="1054659" cy="10417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r>
              <a:rPr lang="fr-LU" sz="1092" b="1">
                <a:solidFill>
                  <a:srgbClr val="FFFFFF"/>
                </a:solidFill>
                <a:latin typeface="Arial"/>
              </a:rPr>
              <a:t>As </a:t>
            </a:r>
            <a:r>
              <a:rPr lang="fr-LU" sz="1092" b="1" err="1">
                <a:solidFill>
                  <a:srgbClr val="FFFFFF"/>
                </a:solidFill>
                <a:latin typeface="Arial"/>
              </a:rPr>
              <a:t>we</a:t>
            </a:r>
            <a:r>
              <a:rPr lang="fr-LU" sz="1092" b="1">
                <a:solidFill>
                  <a:srgbClr val="FFFFFF"/>
                </a:solidFill>
                <a:latin typeface="Arial"/>
              </a:rPr>
              <a:t> </a:t>
            </a:r>
            <a:r>
              <a:rPr lang="fr-LU" sz="1092" b="1" err="1">
                <a:solidFill>
                  <a:srgbClr val="FFFFFF"/>
                </a:solidFill>
                <a:latin typeface="Arial"/>
              </a:rPr>
              <a:t>want</a:t>
            </a:r>
            <a:r>
              <a:rPr lang="fr-LU" sz="1092" b="1">
                <a:solidFill>
                  <a:srgbClr val="FFFFFF"/>
                </a:solidFill>
                <a:latin typeface="Arial"/>
              </a:rPr>
              <a:t> to </a:t>
            </a:r>
            <a:r>
              <a:rPr lang="fr-LU" sz="1092" b="1" err="1">
                <a:solidFill>
                  <a:srgbClr val="FFFFFF"/>
                </a:solidFill>
                <a:latin typeface="Arial"/>
              </a:rPr>
              <a:t>be</a:t>
            </a:r>
            <a:r>
              <a:rPr lang="fr-LU" sz="1092" b="1">
                <a:solidFill>
                  <a:srgbClr val="FFFFFF"/>
                </a:solidFill>
                <a:latin typeface="Arial"/>
              </a:rPr>
              <a:t> !</a:t>
            </a:r>
          </a:p>
        </p:txBody>
      </p:sp>
      <p:cxnSp>
        <p:nvCxnSpPr>
          <p:cNvPr id="16" name="Connector: Curved 15">
            <a:extLst>
              <a:ext uri="{FF2B5EF4-FFF2-40B4-BE49-F238E27FC236}">
                <a16:creationId xmlns:a16="http://schemas.microsoft.com/office/drawing/2014/main" id="{7CAF7DAD-8B93-C0CF-D867-D0A8FA475F14}"/>
              </a:ext>
            </a:extLst>
          </p:cNvPr>
          <p:cNvCxnSpPr>
            <a:stCxn id="7" idx="6"/>
            <a:endCxn id="14" idx="2"/>
          </p:cNvCxnSpPr>
          <p:nvPr/>
        </p:nvCxnSpPr>
        <p:spPr>
          <a:xfrm flipV="1">
            <a:off x="2876126" y="1860165"/>
            <a:ext cx="3978256" cy="4096638"/>
          </a:xfrm>
          <a:prstGeom prst="curvedConnector3">
            <a:avLst>
              <a:gd name="adj1" fmla="val 50000"/>
            </a:avLst>
          </a:prstGeom>
          <a:ln w="5715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ight Brace 18">
            <a:extLst>
              <a:ext uri="{FF2B5EF4-FFF2-40B4-BE49-F238E27FC236}">
                <a16:creationId xmlns:a16="http://schemas.microsoft.com/office/drawing/2014/main" id="{70B380A6-1CF0-4B40-4E0C-A3F99552255A}"/>
              </a:ext>
            </a:extLst>
          </p:cNvPr>
          <p:cNvSpPr/>
          <p:nvPr/>
        </p:nvSpPr>
        <p:spPr>
          <a:xfrm>
            <a:off x="1843051" y="1497387"/>
            <a:ext cx="307104" cy="1041703"/>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defTabSz="554492"/>
            <a:endParaRPr lang="fr-LU" sz="1092">
              <a:solidFill>
                <a:srgbClr val="58585A"/>
              </a:solidFill>
              <a:latin typeface="Arial"/>
            </a:endParaRPr>
          </a:p>
        </p:txBody>
      </p:sp>
      <p:cxnSp>
        <p:nvCxnSpPr>
          <p:cNvPr id="21" name="Connector: Elbow 20">
            <a:extLst>
              <a:ext uri="{FF2B5EF4-FFF2-40B4-BE49-F238E27FC236}">
                <a16:creationId xmlns:a16="http://schemas.microsoft.com/office/drawing/2014/main" id="{7ED42002-9130-3D82-592F-009B74D20368}"/>
              </a:ext>
            </a:extLst>
          </p:cNvPr>
          <p:cNvCxnSpPr>
            <a:stCxn id="19" idx="1"/>
          </p:cNvCxnSpPr>
          <p:nvPr/>
        </p:nvCxnSpPr>
        <p:spPr>
          <a:xfrm rot="10800000" flipH="1">
            <a:off x="2150154" y="1731724"/>
            <a:ext cx="3855859" cy="286514"/>
          </a:xfrm>
          <a:prstGeom prst="bentConnector5">
            <a:avLst>
              <a:gd name="adj1" fmla="val 7246"/>
              <a:gd name="adj2" fmla="val 912"/>
              <a:gd name="adj3" fmla="val 57965"/>
            </a:avLst>
          </a:prstGeom>
          <a:ln w="5715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1F7B37F-35F7-59F5-1D9C-1F97A93247A1}"/>
              </a:ext>
            </a:extLst>
          </p:cNvPr>
          <p:cNvGrpSpPr/>
          <p:nvPr/>
        </p:nvGrpSpPr>
        <p:grpSpPr>
          <a:xfrm>
            <a:off x="-159108" y="2945741"/>
            <a:ext cx="3457282" cy="2301835"/>
            <a:chOff x="3038621" y="4447711"/>
            <a:chExt cx="5701314" cy="3795897"/>
          </a:xfrm>
        </p:grpSpPr>
        <p:graphicFrame>
          <p:nvGraphicFramePr>
            <p:cNvPr id="25" name="Diagram 24">
              <a:extLst>
                <a:ext uri="{FF2B5EF4-FFF2-40B4-BE49-F238E27FC236}">
                  <a16:creationId xmlns:a16="http://schemas.microsoft.com/office/drawing/2014/main" id="{6EFBF2F9-DFFD-6FD8-16CC-F47CDC349139}"/>
                </a:ext>
              </a:extLst>
            </p:cNvPr>
            <p:cNvGraphicFramePr/>
            <p:nvPr>
              <p:extLst>
                <p:ext uri="{D42A27DB-BD31-4B8C-83A1-F6EECF244321}">
                  <p14:modId xmlns:p14="http://schemas.microsoft.com/office/powerpoint/2010/main" val="40491676"/>
                </p:ext>
              </p:extLst>
            </p:nvPr>
          </p:nvGraphicFramePr>
          <p:xfrm>
            <a:off x="3038621" y="4447711"/>
            <a:ext cx="5701314" cy="37958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7" name="TextBox 26">
              <a:extLst>
                <a:ext uri="{FF2B5EF4-FFF2-40B4-BE49-F238E27FC236}">
                  <a16:creationId xmlns:a16="http://schemas.microsoft.com/office/drawing/2014/main" id="{14095D78-F89A-0106-D3A2-15A862934980}"/>
                </a:ext>
              </a:extLst>
            </p:cNvPr>
            <p:cNvSpPr txBox="1"/>
            <p:nvPr/>
          </p:nvSpPr>
          <p:spPr>
            <a:xfrm>
              <a:off x="5017081" y="5422360"/>
              <a:ext cx="1744394" cy="2092255"/>
            </a:xfrm>
            <a:prstGeom prst="rect">
              <a:avLst/>
            </a:prstGeom>
            <a:noFill/>
          </p:spPr>
          <p:txBody>
            <a:bodyPr wrap="square" rtlCol="0">
              <a:spAutoFit/>
            </a:bodyPr>
            <a:lstStyle/>
            <a:p>
              <a:pPr algn="ctr" defTabSz="554492"/>
              <a:r>
                <a:rPr lang="fr-LU" sz="1092" b="1">
                  <a:solidFill>
                    <a:srgbClr val="C00000"/>
                  </a:solidFill>
                  <a:latin typeface="Arial"/>
                </a:rPr>
                <a:t>Change Management</a:t>
              </a:r>
            </a:p>
            <a:p>
              <a:pPr algn="ctr" defTabSz="554492"/>
              <a:endParaRPr lang="fr-LU" sz="1092" b="1">
                <a:solidFill>
                  <a:srgbClr val="C00000"/>
                </a:solidFill>
                <a:latin typeface="Arial"/>
              </a:endParaRPr>
            </a:p>
            <a:p>
              <a:pPr algn="ctr" defTabSz="554492"/>
              <a:r>
                <a:rPr lang="fr-LU" sz="1092" b="1" err="1">
                  <a:solidFill>
                    <a:srgbClr val="C00000"/>
                  </a:solidFill>
                  <a:latin typeface="Arial"/>
                </a:rPr>
                <a:t>Continuous</a:t>
              </a:r>
              <a:r>
                <a:rPr lang="fr-LU" sz="1092" b="1">
                  <a:solidFill>
                    <a:srgbClr val="C00000"/>
                  </a:solidFill>
                  <a:latin typeface="Arial"/>
                </a:rPr>
                <a:t> </a:t>
              </a:r>
              <a:r>
                <a:rPr lang="fr-LU" sz="1092" b="1" err="1">
                  <a:solidFill>
                    <a:srgbClr val="C00000"/>
                  </a:solidFill>
                  <a:latin typeface="Arial"/>
                </a:rPr>
                <a:t>Improvement</a:t>
              </a:r>
              <a:endParaRPr lang="fr-LU" sz="1092" b="1">
                <a:solidFill>
                  <a:srgbClr val="C00000"/>
                </a:solidFill>
                <a:latin typeface="Arial"/>
              </a:endParaRPr>
            </a:p>
            <a:p>
              <a:pPr algn="ctr" defTabSz="554492"/>
              <a:endParaRPr lang="fr-LU" sz="1092" b="1">
                <a:solidFill>
                  <a:srgbClr val="C00000"/>
                </a:solidFill>
                <a:latin typeface="Arial"/>
              </a:endParaRPr>
            </a:p>
            <a:p>
              <a:pPr algn="ctr" defTabSz="554492"/>
              <a:endParaRPr lang="fr-LU" sz="1092" b="1">
                <a:solidFill>
                  <a:srgbClr val="C00000"/>
                </a:solidFill>
                <a:latin typeface="Arial"/>
              </a:endParaRPr>
            </a:p>
          </p:txBody>
        </p:sp>
      </p:grpSp>
      <p:grpSp>
        <p:nvGrpSpPr>
          <p:cNvPr id="30" name="Group 29">
            <a:extLst>
              <a:ext uri="{FF2B5EF4-FFF2-40B4-BE49-F238E27FC236}">
                <a16:creationId xmlns:a16="http://schemas.microsoft.com/office/drawing/2014/main" id="{0FDBCB8F-2781-40C4-F4B5-ED83F0CFF048}"/>
              </a:ext>
            </a:extLst>
          </p:cNvPr>
          <p:cNvGrpSpPr/>
          <p:nvPr/>
        </p:nvGrpSpPr>
        <p:grpSpPr>
          <a:xfrm>
            <a:off x="1951459" y="3013121"/>
            <a:ext cx="3457282" cy="2301835"/>
            <a:chOff x="-509125" y="4447711"/>
            <a:chExt cx="5701314" cy="3795897"/>
          </a:xfrm>
        </p:grpSpPr>
        <p:graphicFrame>
          <p:nvGraphicFramePr>
            <p:cNvPr id="22" name="Diagram 21">
              <a:extLst>
                <a:ext uri="{FF2B5EF4-FFF2-40B4-BE49-F238E27FC236}">
                  <a16:creationId xmlns:a16="http://schemas.microsoft.com/office/drawing/2014/main" id="{E4B1F194-F440-B88A-4210-C524883F4994}"/>
                </a:ext>
              </a:extLst>
            </p:cNvPr>
            <p:cNvGraphicFramePr/>
            <p:nvPr>
              <p:extLst>
                <p:ext uri="{D42A27DB-BD31-4B8C-83A1-F6EECF244321}">
                  <p14:modId xmlns:p14="http://schemas.microsoft.com/office/powerpoint/2010/main" val="113866168"/>
                </p:ext>
              </p:extLst>
            </p:nvPr>
          </p:nvGraphicFramePr>
          <p:xfrm>
            <a:off x="-509125" y="4447711"/>
            <a:ext cx="5701314" cy="379589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3" name="TextBox 22">
              <a:extLst>
                <a:ext uri="{FF2B5EF4-FFF2-40B4-BE49-F238E27FC236}">
                  <a16:creationId xmlns:a16="http://schemas.microsoft.com/office/drawing/2014/main" id="{2BE50595-C957-EF8D-E793-0A7A9389F43B}"/>
                </a:ext>
              </a:extLst>
            </p:cNvPr>
            <p:cNvSpPr txBox="1"/>
            <p:nvPr/>
          </p:nvSpPr>
          <p:spPr>
            <a:xfrm>
              <a:off x="1496863" y="5357382"/>
              <a:ext cx="1744394" cy="1928677"/>
            </a:xfrm>
            <a:prstGeom prst="rect">
              <a:avLst/>
            </a:prstGeom>
            <a:noFill/>
          </p:spPr>
          <p:txBody>
            <a:bodyPr wrap="square" rtlCol="0">
              <a:spAutoFit/>
            </a:bodyPr>
            <a:lstStyle/>
            <a:p>
              <a:pPr algn="ctr" defTabSz="554492"/>
              <a:r>
                <a:rPr lang="fr-LU" sz="1000" b="1">
                  <a:solidFill>
                    <a:srgbClr val="55B948">
                      <a:lumMod val="75000"/>
                    </a:srgbClr>
                  </a:solidFill>
                  <a:latin typeface="Arial"/>
                </a:rPr>
                <a:t>Culture</a:t>
              </a:r>
            </a:p>
            <a:p>
              <a:pPr algn="ctr" defTabSz="554492"/>
              <a:endParaRPr lang="fr-LU" sz="1000" b="1">
                <a:solidFill>
                  <a:srgbClr val="55B948">
                    <a:lumMod val="75000"/>
                  </a:srgbClr>
                </a:solidFill>
                <a:latin typeface="Arial"/>
              </a:endParaRPr>
            </a:p>
            <a:p>
              <a:pPr algn="ctr" defTabSz="554492"/>
              <a:r>
                <a:rPr lang="fr-LU" sz="1000" b="1">
                  <a:solidFill>
                    <a:srgbClr val="55B948">
                      <a:lumMod val="75000"/>
                    </a:srgbClr>
                  </a:solidFill>
                  <a:latin typeface="Arial"/>
                </a:rPr>
                <a:t>Motivation</a:t>
              </a:r>
            </a:p>
            <a:p>
              <a:pPr algn="ctr" defTabSz="554492"/>
              <a:endParaRPr lang="fr-LU" sz="1000" b="1">
                <a:solidFill>
                  <a:srgbClr val="55B948">
                    <a:lumMod val="75000"/>
                  </a:srgbClr>
                </a:solidFill>
                <a:latin typeface="Arial"/>
              </a:endParaRPr>
            </a:p>
            <a:p>
              <a:pPr algn="ctr" defTabSz="554492"/>
              <a:r>
                <a:rPr lang="fr-LU" sz="1000" b="1">
                  <a:solidFill>
                    <a:srgbClr val="55B948">
                      <a:lumMod val="75000"/>
                    </a:srgbClr>
                  </a:solidFill>
                  <a:latin typeface="Arial"/>
                </a:rPr>
                <a:t>System (organisation)</a:t>
              </a:r>
            </a:p>
            <a:p>
              <a:pPr algn="ctr" defTabSz="554492"/>
              <a:endParaRPr lang="fr-LU" sz="1000" b="1">
                <a:solidFill>
                  <a:srgbClr val="55B948">
                    <a:lumMod val="75000"/>
                  </a:srgbClr>
                </a:solidFill>
                <a:latin typeface="Arial"/>
              </a:endParaRPr>
            </a:p>
          </p:txBody>
        </p:sp>
      </p:grpSp>
      <p:sp>
        <p:nvSpPr>
          <p:cNvPr id="24" name="TextBox 23">
            <a:extLst>
              <a:ext uri="{FF2B5EF4-FFF2-40B4-BE49-F238E27FC236}">
                <a16:creationId xmlns:a16="http://schemas.microsoft.com/office/drawing/2014/main" id="{FDC1E3BB-D229-8702-9990-C46978C2579A}"/>
              </a:ext>
            </a:extLst>
          </p:cNvPr>
          <p:cNvSpPr txBox="1"/>
          <p:nvPr/>
        </p:nvSpPr>
        <p:spPr>
          <a:xfrm>
            <a:off x="6616898" y="764573"/>
            <a:ext cx="1529626" cy="353623"/>
          </a:xfrm>
          <a:prstGeom prst="rect">
            <a:avLst/>
          </a:prstGeom>
          <a:noFill/>
        </p:spPr>
        <p:txBody>
          <a:bodyPr wrap="square" rtlCol="0">
            <a:spAutoFit/>
          </a:bodyPr>
          <a:lstStyle/>
          <a:p>
            <a:pPr algn="ctr" defTabSz="554492"/>
            <a:r>
              <a:rPr lang="fr-LU" sz="1698" b="1">
                <a:solidFill>
                  <a:srgbClr val="FF0000"/>
                </a:solidFill>
                <a:latin typeface="Arial"/>
              </a:rPr>
              <a:t>SUCCESS !!!</a:t>
            </a:r>
          </a:p>
        </p:txBody>
      </p:sp>
      <p:sp>
        <p:nvSpPr>
          <p:cNvPr id="52" name="Rectangle: Rounded Corners 51">
            <a:extLst>
              <a:ext uri="{FF2B5EF4-FFF2-40B4-BE49-F238E27FC236}">
                <a16:creationId xmlns:a16="http://schemas.microsoft.com/office/drawing/2014/main" id="{5F596018-4296-45F7-3E03-186FA222829B}"/>
              </a:ext>
            </a:extLst>
          </p:cNvPr>
          <p:cNvSpPr/>
          <p:nvPr/>
        </p:nvSpPr>
        <p:spPr>
          <a:xfrm>
            <a:off x="264472" y="2693252"/>
            <a:ext cx="4884819" cy="2554324"/>
          </a:xfrm>
          <a:prstGeom prst="roundRect">
            <a:avLst/>
          </a:prstGeom>
          <a:noFill/>
          <a:ln w="28575">
            <a:solidFill>
              <a:srgbClr val="FF0000"/>
            </a:solidFill>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554492"/>
            <a:endParaRPr lang="fr-LU" sz="1092">
              <a:solidFill>
                <a:srgbClr val="FFFFFF"/>
              </a:solidFill>
              <a:latin typeface="Arial"/>
            </a:endParaRPr>
          </a:p>
        </p:txBody>
      </p:sp>
      <p:sp>
        <p:nvSpPr>
          <p:cNvPr id="8" name="Arrow: Right 7">
            <a:extLst>
              <a:ext uri="{FF2B5EF4-FFF2-40B4-BE49-F238E27FC236}">
                <a16:creationId xmlns:a16="http://schemas.microsoft.com/office/drawing/2014/main" id="{0F2F9F8D-D732-CADB-2DAD-231B59C7F461}"/>
              </a:ext>
            </a:extLst>
          </p:cNvPr>
          <p:cNvSpPr/>
          <p:nvPr/>
        </p:nvSpPr>
        <p:spPr>
          <a:xfrm>
            <a:off x="5159206" y="3687819"/>
            <a:ext cx="1239895" cy="765728"/>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54492"/>
            <a:endParaRPr lang="fr-LU" sz="1092">
              <a:solidFill>
                <a:srgbClr val="FFFFFF"/>
              </a:solidFill>
              <a:latin typeface="Arial"/>
            </a:endParaRPr>
          </a:p>
        </p:txBody>
      </p:sp>
      <p:sp>
        <p:nvSpPr>
          <p:cNvPr id="9" name="TextBox 8">
            <a:extLst>
              <a:ext uri="{FF2B5EF4-FFF2-40B4-BE49-F238E27FC236}">
                <a16:creationId xmlns:a16="http://schemas.microsoft.com/office/drawing/2014/main" id="{3DDBD3C9-BBAA-71C7-3867-5BFD1F33C330}"/>
              </a:ext>
            </a:extLst>
          </p:cNvPr>
          <p:cNvSpPr txBox="1"/>
          <p:nvPr/>
        </p:nvSpPr>
        <p:spPr>
          <a:xfrm>
            <a:off x="4876446" y="5553732"/>
            <a:ext cx="1804303" cy="353623"/>
          </a:xfrm>
          <a:prstGeom prst="rect">
            <a:avLst/>
          </a:prstGeom>
          <a:noFill/>
        </p:spPr>
        <p:txBody>
          <a:bodyPr wrap="square" rtlCol="0">
            <a:spAutoFit/>
          </a:bodyPr>
          <a:lstStyle/>
          <a:p>
            <a:pPr defTabSz="554492"/>
            <a:r>
              <a:rPr lang="fr-LU" sz="1698" b="1">
                <a:solidFill>
                  <a:srgbClr val="58585A"/>
                </a:solidFill>
                <a:latin typeface="Arial"/>
              </a:rPr>
              <a:t>The process …</a:t>
            </a:r>
          </a:p>
        </p:txBody>
      </p:sp>
      <p:cxnSp>
        <p:nvCxnSpPr>
          <p:cNvPr id="11" name="Straight Arrow Connector 10">
            <a:extLst>
              <a:ext uri="{FF2B5EF4-FFF2-40B4-BE49-F238E27FC236}">
                <a16:creationId xmlns:a16="http://schemas.microsoft.com/office/drawing/2014/main" id="{8D4F6037-D784-C730-FF87-97DC10024D70}"/>
              </a:ext>
            </a:extLst>
          </p:cNvPr>
          <p:cNvCxnSpPr>
            <a:stCxn id="9" idx="1"/>
          </p:cNvCxnSpPr>
          <p:nvPr/>
        </p:nvCxnSpPr>
        <p:spPr>
          <a:xfrm flipH="1" flipV="1">
            <a:off x="4225693" y="5370036"/>
            <a:ext cx="650753" cy="3605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8C46AF3-6FA2-ACDB-20AE-5B660D35A69A}"/>
              </a:ext>
            </a:extLst>
          </p:cNvPr>
          <p:cNvSpPr txBox="1"/>
          <p:nvPr/>
        </p:nvSpPr>
        <p:spPr>
          <a:xfrm>
            <a:off x="8362014" y="3128171"/>
            <a:ext cx="2695232" cy="1921360"/>
          </a:xfrm>
          <a:prstGeom prst="rect">
            <a:avLst/>
          </a:prstGeom>
          <a:noFill/>
        </p:spPr>
        <p:txBody>
          <a:bodyPr wrap="square" rtlCol="0">
            <a:spAutoFit/>
          </a:bodyPr>
          <a:lstStyle/>
          <a:p>
            <a:pPr algn="ctr" defTabSz="554492"/>
            <a:r>
              <a:rPr lang="fr-LU" sz="1698" b="1">
                <a:solidFill>
                  <a:srgbClr val="58585A"/>
                </a:solidFill>
                <a:latin typeface="Arial"/>
              </a:rPr>
              <a:t>ORGANISATION </a:t>
            </a:r>
            <a:r>
              <a:rPr lang="fr-LU" sz="1698" b="1" err="1">
                <a:solidFill>
                  <a:srgbClr val="58585A"/>
                </a:solidFill>
                <a:latin typeface="Arial"/>
              </a:rPr>
              <a:t>is</a:t>
            </a:r>
            <a:r>
              <a:rPr lang="fr-LU" sz="1698" b="1">
                <a:solidFill>
                  <a:srgbClr val="58585A"/>
                </a:solidFill>
                <a:latin typeface="Arial"/>
              </a:rPr>
              <a:t> a </a:t>
            </a:r>
          </a:p>
          <a:p>
            <a:pPr algn="ctr" defTabSz="554492"/>
            <a:r>
              <a:rPr lang="fr-LU" sz="1698" b="1" err="1">
                <a:solidFill>
                  <a:srgbClr val="58585A"/>
                </a:solidFill>
                <a:latin typeface="Arial"/>
              </a:rPr>
              <a:t>structured</a:t>
            </a:r>
            <a:r>
              <a:rPr lang="fr-LU" sz="1698" b="1">
                <a:solidFill>
                  <a:srgbClr val="58585A"/>
                </a:solidFill>
                <a:latin typeface="Arial"/>
              </a:rPr>
              <a:t> group of people (INDIVIDUAL) </a:t>
            </a:r>
            <a:r>
              <a:rPr lang="fr-LU" sz="1698" b="1" err="1">
                <a:solidFill>
                  <a:srgbClr val="58585A"/>
                </a:solidFill>
                <a:latin typeface="Arial"/>
              </a:rPr>
              <a:t>working</a:t>
            </a:r>
            <a:r>
              <a:rPr lang="fr-LU" sz="1698" b="1">
                <a:solidFill>
                  <a:srgbClr val="58585A"/>
                </a:solidFill>
                <a:latin typeface="Arial"/>
              </a:rPr>
              <a:t> (TASK)  </a:t>
            </a:r>
            <a:r>
              <a:rPr lang="fr-LU" sz="1698" b="1" err="1">
                <a:solidFill>
                  <a:srgbClr val="58585A"/>
                </a:solidFill>
                <a:latin typeface="Arial"/>
              </a:rPr>
              <a:t>together</a:t>
            </a:r>
            <a:r>
              <a:rPr lang="fr-LU" sz="1698" b="1">
                <a:solidFill>
                  <a:srgbClr val="58585A"/>
                </a:solidFill>
                <a:latin typeface="Arial"/>
              </a:rPr>
              <a:t> (TEAM) to </a:t>
            </a:r>
            <a:r>
              <a:rPr lang="fr-LU" sz="1698" b="1" err="1">
                <a:solidFill>
                  <a:srgbClr val="58585A"/>
                </a:solidFill>
                <a:latin typeface="Arial"/>
              </a:rPr>
              <a:t>achieve</a:t>
            </a:r>
            <a:r>
              <a:rPr lang="fr-LU" sz="1698" b="1">
                <a:solidFill>
                  <a:srgbClr val="58585A"/>
                </a:solidFill>
                <a:latin typeface="Arial"/>
              </a:rPr>
              <a:t> </a:t>
            </a:r>
            <a:r>
              <a:rPr lang="fr-LU" sz="1698" b="1" err="1">
                <a:solidFill>
                  <a:srgbClr val="58585A"/>
                </a:solidFill>
                <a:latin typeface="Arial"/>
              </a:rPr>
              <a:t>common</a:t>
            </a:r>
            <a:r>
              <a:rPr lang="fr-LU" sz="1698" b="1">
                <a:solidFill>
                  <a:srgbClr val="58585A"/>
                </a:solidFill>
                <a:latin typeface="Arial"/>
              </a:rPr>
              <a:t> set of objectives</a:t>
            </a:r>
          </a:p>
        </p:txBody>
      </p:sp>
      <p:sp>
        <p:nvSpPr>
          <p:cNvPr id="13" name="TextBox 12">
            <a:extLst>
              <a:ext uri="{FF2B5EF4-FFF2-40B4-BE49-F238E27FC236}">
                <a16:creationId xmlns:a16="http://schemas.microsoft.com/office/drawing/2014/main" id="{A848E054-F8A1-1BB9-D2FA-2D4B6BB06D31}"/>
              </a:ext>
            </a:extLst>
          </p:cNvPr>
          <p:cNvSpPr txBox="1"/>
          <p:nvPr/>
        </p:nvSpPr>
        <p:spPr>
          <a:xfrm>
            <a:off x="7563278" y="5365626"/>
            <a:ext cx="4354348" cy="1286506"/>
          </a:xfrm>
          <a:prstGeom prst="rect">
            <a:avLst/>
          </a:prstGeom>
          <a:noFill/>
        </p:spPr>
        <p:txBody>
          <a:bodyPr wrap="square" rtlCol="0">
            <a:spAutoFit/>
          </a:bodyPr>
          <a:lstStyle/>
          <a:p>
            <a:pPr algn="ctr" defTabSz="554492"/>
            <a:r>
              <a:rPr lang="en-US" sz="1940" b="1">
                <a:solidFill>
                  <a:srgbClr val="58585A"/>
                </a:solidFill>
                <a:latin typeface="Arial"/>
              </a:rPr>
              <a:t>Maintenance Performance </a:t>
            </a:r>
          </a:p>
          <a:p>
            <a:pPr algn="ctr" defTabSz="554492"/>
            <a:r>
              <a:rPr lang="en-US" sz="1940" b="1">
                <a:solidFill>
                  <a:srgbClr val="58585A"/>
                </a:solidFill>
                <a:latin typeface="Arial"/>
              </a:rPr>
              <a:t>is obviously a matter of </a:t>
            </a:r>
          </a:p>
          <a:p>
            <a:pPr algn="ctr" defTabSz="554492"/>
            <a:r>
              <a:rPr lang="en-US" sz="1940" b="1">
                <a:solidFill>
                  <a:srgbClr val="58585A"/>
                </a:solidFill>
                <a:latin typeface="Arial"/>
              </a:rPr>
              <a:t>HUMAN and ORGANISATIONAL</a:t>
            </a:r>
          </a:p>
          <a:p>
            <a:pPr algn="ctr" defTabSz="554492"/>
            <a:r>
              <a:rPr lang="en-US" sz="1940" b="1">
                <a:solidFill>
                  <a:srgbClr val="58585A"/>
                </a:solidFill>
                <a:latin typeface="Arial"/>
              </a:rPr>
              <a:t>FACTORS</a:t>
            </a:r>
            <a:endParaRPr lang="fr-LU" sz="1940" b="1">
              <a:solidFill>
                <a:srgbClr val="58585A"/>
              </a:solidFill>
              <a:latin typeface="Arial"/>
            </a:endParaRPr>
          </a:p>
        </p:txBody>
      </p:sp>
      <p:sp>
        <p:nvSpPr>
          <p:cNvPr id="17" name="Arrow: Down 16">
            <a:extLst>
              <a:ext uri="{FF2B5EF4-FFF2-40B4-BE49-F238E27FC236}">
                <a16:creationId xmlns:a16="http://schemas.microsoft.com/office/drawing/2014/main" id="{88031CDB-0CB8-39FF-6EF6-8DE9723917EF}"/>
              </a:ext>
            </a:extLst>
          </p:cNvPr>
          <p:cNvSpPr/>
          <p:nvPr/>
        </p:nvSpPr>
        <p:spPr>
          <a:xfrm>
            <a:off x="9371739" y="4986033"/>
            <a:ext cx="680098" cy="36502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endParaRPr lang="fr-LU" sz="1092">
              <a:solidFill>
                <a:srgbClr val="FFFFFF"/>
              </a:solidFill>
              <a:latin typeface="Arial"/>
            </a:endParaRPr>
          </a:p>
        </p:txBody>
      </p:sp>
    </p:spTree>
    <p:extLst>
      <p:ext uri="{BB962C8B-B14F-4D97-AF65-F5344CB8AC3E}">
        <p14:creationId xmlns:p14="http://schemas.microsoft.com/office/powerpoint/2010/main" val="1643532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8" presetClass="emph" presetSubtype="0" fill="hold" nodeType="clickEffect">
                                  <p:stCondLst>
                                    <p:cond delay="0"/>
                                  </p:stCondLst>
                                  <p:childTnLst>
                                    <p:animRot by="-21600000">
                                      <p:cBhvr>
                                        <p:cTn id="58" dur="2000" fill="hold"/>
                                        <p:tgtEl>
                                          <p:spTgt spid="29"/>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8" presetClass="emph" presetSubtype="0" fill="hold" nodeType="clickEffect">
                                  <p:stCondLst>
                                    <p:cond delay="0"/>
                                  </p:stCondLst>
                                  <p:childTnLst>
                                    <p:animRot by="21600000">
                                      <p:cBhvr>
                                        <p:cTn id="62" dur="2000" fill="hold"/>
                                        <p:tgtEl>
                                          <p:spTgt spid="30"/>
                                        </p:tgtEl>
                                        <p:attrNameLst>
                                          <p:attrName>r</p:attrName>
                                        </p:attrNameLst>
                                      </p:cBhvr>
                                    </p:animRo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02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12"/>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17"/>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7" grpId="0" animBg="1"/>
      <p:bldP spid="14" grpId="0" animBg="1"/>
      <p:bldP spid="19" grpId="0" animBg="1"/>
      <p:bldP spid="24" grpId="0"/>
      <p:bldP spid="52" grpId="0" animBg="1"/>
      <p:bldP spid="8" grpId="0" animBg="1"/>
      <p:bldP spid="9" grpId="0"/>
      <p:bldP spid="12" grpId="0"/>
      <p:bldP spid="13" grpId="0"/>
      <p:bldP spid="1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5" name="Title 4">
            <a:extLst>
              <a:ext uri="{FF2B5EF4-FFF2-40B4-BE49-F238E27FC236}">
                <a16:creationId xmlns:a16="http://schemas.microsoft.com/office/drawing/2014/main" id="{6884CFA3-B97E-139B-D17D-81353D5FF326}"/>
              </a:ext>
            </a:extLst>
          </p:cNvPr>
          <p:cNvSpPr>
            <a:spLocks noGrp="1"/>
          </p:cNvSpPr>
          <p:nvPr>
            <p:ph type="title"/>
          </p:nvPr>
        </p:nvSpPr>
        <p:spPr/>
        <p:txBody>
          <a:bodyPr/>
          <a:lstStyle/>
          <a:p>
            <a:r>
              <a:rPr lang="fr-LU"/>
              <a:t>MAINTENANCE ORGANISATION and HOF</a:t>
            </a:r>
          </a:p>
        </p:txBody>
      </p:sp>
      <p:sp>
        <p:nvSpPr>
          <p:cNvPr id="6" name="Text Placeholder 5">
            <a:extLst>
              <a:ext uri="{FF2B5EF4-FFF2-40B4-BE49-F238E27FC236}">
                <a16:creationId xmlns:a16="http://schemas.microsoft.com/office/drawing/2014/main" id="{50C5E9AF-6CEB-FAB8-712E-29729BE76C80}"/>
              </a:ext>
            </a:extLst>
          </p:cNvPr>
          <p:cNvSpPr>
            <a:spLocks noGrp="1"/>
          </p:cNvSpPr>
          <p:nvPr>
            <p:ph type="body" sz="quarter" idx="12"/>
          </p:nvPr>
        </p:nvSpPr>
        <p:spPr/>
        <p:txBody>
          <a:bodyPr/>
          <a:lstStyle/>
          <a:p>
            <a:r>
              <a:rPr lang="fr-LU"/>
              <a:t>Management of Key aspects for HOF </a:t>
            </a:r>
            <a:r>
              <a:rPr lang="fr-LU" err="1"/>
              <a:t>integration</a:t>
            </a:r>
            <a:r>
              <a:rPr lang="fr-LU"/>
              <a:t> in maintenance …</a:t>
            </a:r>
          </a:p>
        </p:txBody>
      </p:sp>
      <p:pic>
        <p:nvPicPr>
          <p:cNvPr id="8" name="Picture 2" descr="Training human factors in onderhoud">
            <a:extLst>
              <a:ext uri="{FF2B5EF4-FFF2-40B4-BE49-F238E27FC236}">
                <a16:creationId xmlns:a16="http://schemas.microsoft.com/office/drawing/2014/main" id="{7451BD93-AB64-E077-3017-D17A997E22F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541214" y="1982605"/>
            <a:ext cx="3189078" cy="31165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Content Placeholder 15">
            <a:extLst>
              <a:ext uri="{FF2B5EF4-FFF2-40B4-BE49-F238E27FC236}">
                <a16:creationId xmlns:a16="http://schemas.microsoft.com/office/drawing/2014/main" id="{D4283A86-8882-6BE7-EA33-50B8DB86EAB0}"/>
              </a:ext>
            </a:extLst>
          </p:cNvPr>
          <p:cNvGraphicFramePr>
            <a:graphicFrameLocks noGrp="1"/>
          </p:cNvGraphicFramePr>
          <p:nvPr>
            <p:ph sz="half" idx="10"/>
            <p:extLst>
              <p:ext uri="{D42A27DB-BD31-4B8C-83A1-F6EECF244321}">
                <p14:modId xmlns:p14="http://schemas.microsoft.com/office/powerpoint/2010/main" val="4002180402"/>
              </p:ext>
            </p:extLst>
          </p:nvPr>
        </p:nvGraphicFramePr>
        <p:xfrm>
          <a:off x="-468451" y="1019725"/>
          <a:ext cx="7208409" cy="52590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7" name="Table 16">
            <a:extLst>
              <a:ext uri="{FF2B5EF4-FFF2-40B4-BE49-F238E27FC236}">
                <a16:creationId xmlns:a16="http://schemas.microsoft.com/office/drawing/2014/main" id="{6F5208C8-6A40-AF45-05EA-27F5F02EFBD6}"/>
              </a:ext>
            </a:extLst>
          </p:cNvPr>
          <p:cNvGraphicFramePr>
            <a:graphicFrameLocks noGrp="1"/>
          </p:cNvGraphicFramePr>
          <p:nvPr/>
        </p:nvGraphicFramePr>
        <p:xfrm>
          <a:off x="6739958" y="996092"/>
          <a:ext cx="4603790" cy="5414183"/>
        </p:xfrm>
        <a:graphic>
          <a:graphicData uri="http://schemas.openxmlformats.org/drawingml/2006/table">
            <a:tbl>
              <a:tblPr/>
              <a:tblGrid>
                <a:gridCol w="1379587">
                  <a:extLst>
                    <a:ext uri="{9D8B030D-6E8A-4147-A177-3AD203B41FA5}">
                      <a16:colId xmlns:a16="http://schemas.microsoft.com/office/drawing/2014/main" val="1556192586"/>
                    </a:ext>
                  </a:extLst>
                </a:gridCol>
                <a:gridCol w="1255579">
                  <a:extLst>
                    <a:ext uri="{9D8B030D-6E8A-4147-A177-3AD203B41FA5}">
                      <a16:colId xmlns:a16="http://schemas.microsoft.com/office/drawing/2014/main" val="1162670034"/>
                    </a:ext>
                  </a:extLst>
                </a:gridCol>
                <a:gridCol w="1968624">
                  <a:extLst>
                    <a:ext uri="{9D8B030D-6E8A-4147-A177-3AD203B41FA5}">
                      <a16:colId xmlns:a16="http://schemas.microsoft.com/office/drawing/2014/main" val="3204137311"/>
                    </a:ext>
                  </a:extLst>
                </a:gridCol>
              </a:tblGrid>
              <a:tr h="156479">
                <a:tc>
                  <a:txBody>
                    <a:bodyPr/>
                    <a:lstStyle/>
                    <a:p>
                      <a:pPr algn="l" fontAlgn="b"/>
                      <a:endParaRPr lang="fr-LU" sz="700" b="0" i="0" u="none" strike="noStrike">
                        <a:solidFill>
                          <a:srgbClr val="000000"/>
                        </a:solidFill>
                        <a:effectLst/>
                        <a:latin typeface="Calibri" panose="020F0502020204030204" pitchFamily="34" charset="0"/>
                      </a:endParaRPr>
                    </a:p>
                  </a:txBody>
                  <a:tcPr marL="5776" marR="5776" marT="5776"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LU" sz="700" b="0" i="1" u="none" strike="noStrike">
                          <a:solidFill>
                            <a:srgbClr val="000000"/>
                          </a:solidFill>
                          <a:effectLst/>
                          <a:latin typeface="Calibri" panose="020F0502020204030204" pitchFamily="34" charset="0"/>
                        </a:rPr>
                        <a:t>Scope</a:t>
                      </a:r>
                    </a:p>
                  </a:txBody>
                  <a:tcPr marL="5776" marR="5776" marT="5776"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fr-LU" sz="700" b="0" i="1" u="none" strike="noStrike">
                          <a:solidFill>
                            <a:srgbClr val="000000"/>
                          </a:solidFill>
                          <a:effectLst/>
                          <a:latin typeface="Calibri" panose="020F0502020204030204" pitchFamily="34" charset="0"/>
                        </a:rPr>
                        <a:t>To </a:t>
                      </a:r>
                      <a:r>
                        <a:rPr lang="fr-LU" sz="700" b="0" i="1" u="none" strike="noStrike" err="1">
                          <a:solidFill>
                            <a:srgbClr val="000000"/>
                          </a:solidFill>
                          <a:effectLst/>
                          <a:latin typeface="Calibri" panose="020F0502020204030204" pitchFamily="34" charset="0"/>
                        </a:rPr>
                        <a:t>be</a:t>
                      </a:r>
                      <a:r>
                        <a:rPr lang="fr-LU" sz="700" b="0" i="1" u="none" strike="noStrike">
                          <a:solidFill>
                            <a:srgbClr val="000000"/>
                          </a:solidFill>
                          <a:effectLst/>
                          <a:latin typeface="Calibri" panose="020F0502020204030204" pitchFamily="34" charset="0"/>
                        </a:rPr>
                        <a:t> </a:t>
                      </a:r>
                      <a:r>
                        <a:rPr lang="fr-LU" sz="700" b="0" i="1" u="none" strike="noStrike" err="1">
                          <a:solidFill>
                            <a:srgbClr val="000000"/>
                          </a:solidFill>
                          <a:effectLst/>
                          <a:latin typeface="Calibri" panose="020F0502020204030204" pitchFamily="34" charset="0"/>
                        </a:rPr>
                        <a:t>managed</a:t>
                      </a:r>
                      <a:r>
                        <a:rPr lang="fr-LU" sz="700" b="0" i="1" u="none" strike="noStrike">
                          <a:solidFill>
                            <a:srgbClr val="000000"/>
                          </a:solidFill>
                          <a:effectLst/>
                          <a:latin typeface="Calibri" panose="020F0502020204030204" pitchFamily="34" charset="0"/>
                        </a:rPr>
                        <a:t> …</a:t>
                      </a:r>
                    </a:p>
                  </a:txBody>
                  <a:tcPr marL="5776" marR="5776" marT="5776"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1443546"/>
                  </a:ext>
                </a:extLst>
              </a:tr>
              <a:tr h="219071">
                <a:tc rowSpan="24">
                  <a:txBody>
                    <a:bodyPr/>
                    <a:lstStyle/>
                    <a:p>
                      <a:pPr algn="ctr" fontAlgn="ctr"/>
                      <a:r>
                        <a:rPr lang="fr-LU" sz="1200" b="1" i="0" u="none" strike="noStrike">
                          <a:solidFill>
                            <a:srgbClr val="000000"/>
                          </a:solidFill>
                          <a:effectLst/>
                          <a:latin typeface="Calibri" panose="020F0502020204030204" pitchFamily="34" charset="0"/>
                        </a:rPr>
                        <a:t>Human and </a:t>
                      </a:r>
                      <a:r>
                        <a:rPr lang="fr-LU" sz="1200" b="1" i="0" u="none" strike="noStrike" err="1">
                          <a:solidFill>
                            <a:srgbClr val="000000"/>
                          </a:solidFill>
                          <a:effectLst/>
                          <a:latin typeface="Calibri" panose="020F0502020204030204" pitchFamily="34" charset="0"/>
                        </a:rPr>
                        <a:t>Organisational</a:t>
                      </a:r>
                      <a:r>
                        <a:rPr lang="fr-LU" sz="1200" b="1" i="0" u="none" strike="noStrike">
                          <a:solidFill>
                            <a:srgbClr val="000000"/>
                          </a:solidFill>
                          <a:effectLst/>
                          <a:latin typeface="Calibri" panose="020F0502020204030204" pitchFamily="34" charset="0"/>
                        </a:rPr>
                        <a:t> </a:t>
                      </a:r>
                      <a:r>
                        <a:rPr lang="fr-LU" sz="1200" b="1" i="0" u="none" strike="noStrike" err="1">
                          <a:solidFill>
                            <a:srgbClr val="000000"/>
                          </a:solidFill>
                          <a:effectLst/>
                          <a:latin typeface="Calibri" panose="020F0502020204030204" pitchFamily="34" charset="0"/>
                        </a:rPr>
                        <a:t>Factors</a:t>
                      </a:r>
                      <a:endParaRPr lang="fr-LU" sz="1200" b="1" i="0" u="none" strike="noStrike">
                        <a:solidFill>
                          <a:srgbClr val="000000"/>
                        </a:solidFill>
                        <a:effectLst/>
                        <a:latin typeface="Calibri" panose="020F0502020204030204" pitchFamily="34" charset="0"/>
                      </a:endParaRPr>
                    </a:p>
                  </a:txBody>
                  <a:tcPr marL="5776" marR="5776" marT="577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A"/>
                    </a:solidFill>
                  </a:tcPr>
                </a:tc>
                <a:tc rowSpan="3">
                  <a:txBody>
                    <a:bodyPr/>
                    <a:lstStyle/>
                    <a:p>
                      <a:pPr algn="ctr" fontAlgn="ctr"/>
                      <a:r>
                        <a:rPr lang="fr-LU" sz="700" b="0" i="0" u="none" strike="noStrike">
                          <a:solidFill>
                            <a:srgbClr val="000000"/>
                          </a:solidFill>
                          <a:effectLst/>
                          <a:latin typeface="Calibri" panose="020F0502020204030204" pitchFamily="34" charset="0"/>
                        </a:rPr>
                        <a:t>Cultural</a:t>
                      </a:r>
                    </a:p>
                  </a:txBody>
                  <a:tcPr marL="5776" marR="5776" marT="57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LU" sz="700" b="0" i="0" u="none" strike="noStrike">
                          <a:solidFill>
                            <a:srgbClr val="000000"/>
                          </a:solidFill>
                          <a:effectLst/>
                          <a:latin typeface="Calibri" panose="020F0502020204030204" pitchFamily="34" charset="0"/>
                        </a:rPr>
                        <a:t>Value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7568202"/>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Vision / objective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7068598"/>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err="1">
                          <a:solidFill>
                            <a:srgbClr val="000000"/>
                          </a:solidFill>
                          <a:effectLst/>
                          <a:latin typeface="Calibri" panose="020F0502020204030204" pitchFamily="34" charset="0"/>
                        </a:rPr>
                        <a:t>Policies</a:t>
                      </a:r>
                      <a:endParaRPr lang="fr-LU" sz="700" b="0" i="0" u="none" strike="noStrike">
                        <a:solidFill>
                          <a:srgbClr val="000000"/>
                        </a:solidFill>
                        <a:effectLst/>
                        <a:latin typeface="Calibri" panose="020F0502020204030204" pitchFamily="34" charset="0"/>
                      </a:endParaRP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3972131"/>
                  </a:ext>
                </a:extLst>
              </a:tr>
              <a:tr h="219071">
                <a:tc vMerge="1">
                  <a:txBody>
                    <a:bodyPr/>
                    <a:lstStyle/>
                    <a:p>
                      <a:endParaRPr lang="fr-LU"/>
                    </a:p>
                  </a:txBody>
                  <a:tcPr/>
                </a:tc>
                <a:tc rowSpan="4">
                  <a:txBody>
                    <a:bodyPr/>
                    <a:lstStyle/>
                    <a:p>
                      <a:pPr algn="ctr" fontAlgn="ctr"/>
                      <a:r>
                        <a:rPr lang="fr-LU" sz="700" b="0" i="0" u="none" strike="noStrike" err="1">
                          <a:solidFill>
                            <a:srgbClr val="000000"/>
                          </a:solidFill>
                          <a:effectLst/>
                          <a:latin typeface="Calibri" panose="020F0502020204030204" pitchFamily="34" charset="0"/>
                        </a:rPr>
                        <a:t>Health</a:t>
                      </a:r>
                      <a:endParaRPr lang="fr-LU" sz="700" b="0" i="0" u="none" strike="noStrike">
                        <a:solidFill>
                          <a:srgbClr val="000000"/>
                        </a:solidFill>
                        <a:effectLst/>
                        <a:latin typeface="Calibri" panose="020F0502020204030204" pitchFamily="34" charset="0"/>
                      </a:endParaRPr>
                    </a:p>
                  </a:txBody>
                  <a:tcPr marL="5776" marR="5776" marT="57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LU" sz="700" b="0" i="0" u="none" strike="noStrike" err="1">
                          <a:solidFill>
                            <a:srgbClr val="000000"/>
                          </a:solidFill>
                          <a:effectLst/>
                          <a:latin typeface="Calibri" panose="020F0502020204030204" pitchFamily="34" charset="0"/>
                        </a:rPr>
                        <a:t>Ergonomics</a:t>
                      </a:r>
                      <a:endParaRPr lang="fr-LU" sz="700" b="0" i="0" u="none" strike="noStrike">
                        <a:solidFill>
                          <a:srgbClr val="000000"/>
                        </a:solidFill>
                        <a:effectLst/>
                        <a:latin typeface="Calibri" panose="020F0502020204030204" pitchFamily="34" charset="0"/>
                      </a:endParaRP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3253478"/>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Stres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7472475"/>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Work </a:t>
                      </a:r>
                      <a:r>
                        <a:rPr lang="fr-LU" sz="700" b="0" i="0" u="none" strike="noStrike" err="1">
                          <a:solidFill>
                            <a:srgbClr val="000000"/>
                          </a:solidFill>
                          <a:effectLst/>
                          <a:latin typeface="Calibri" panose="020F0502020204030204" pitchFamily="34" charset="0"/>
                        </a:rPr>
                        <a:t>environment</a:t>
                      </a:r>
                      <a:endParaRPr lang="fr-LU" sz="700" b="0" i="0" u="none" strike="noStrike">
                        <a:solidFill>
                          <a:srgbClr val="000000"/>
                        </a:solidFill>
                        <a:effectLst/>
                        <a:latin typeface="Calibri" panose="020F0502020204030204" pitchFamily="34" charset="0"/>
                      </a:endParaRP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753706"/>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Physical </a:t>
                      </a:r>
                      <a:r>
                        <a:rPr lang="fr-LU" sz="700" b="0" i="0" u="none" strike="noStrike" err="1">
                          <a:solidFill>
                            <a:srgbClr val="000000"/>
                          </a:solidFill>
                          <a:effectLst/>
                          <a:latin typeface="Calibri" panose="020F0502020204030204" pitchFamily="34" charset="0"/>
                        </a:rPr>
                        <a:t>work</a:t>
                      </a:r>
                      <a:r>
                        <a:rPr lang="fr-LU" sz="700" b="0" i="0" u="none" strike="noStrike">
                          <a:solidFill>
                            <a:srgbClr val="000000"/>
                          </a:solidFill>
                          <a:effectLst/>
                          <a:latin typeface="Calibri" panose="020F0502020204030204" pitchFamily="34" charset="0"/>
                        </a:rPr>
                        <a:t> </a:t>
                      </a:r>
                      <a:r>
                        <a:rPr lang="fr-LU" sz="700" b="0" i="0" u="none" strike="noStrike" err="1">
                          <a:solidFill>
                            <a:srgbClr val="000000"/>
                          </a:solidFill>
                          <a:effectLst/>
                          <a:latin typeface="Calibri" panose="020F0502020204030204" pitchFamily="34" charset="0"/>
                        </a:rPr>
                        <a:t>load</a:t>
                      </a:r>
                      <a:endParaRPr lang="fr-LU" sz="700" b="0" i="0" u="none" strike="noStrike">
                        <a:solidFill>
                          <a:srgbClr val="000000"/>
                        </a:solidFill>
                        <a:effectLst/>
                        <a:latin typeface="Calibri" panose="020F0502020204030204" pitchFamily="34" charset="0"/>
                      </a:endParaRP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2826094"/>
                  </a:ext>
                </a:extLst>
              </a:tr>
              <a:tr h="219071">
                <a:tc vMerge="1">
                  <a:txBody>
                    <a:bodyPr/>
                    <a:lstStyle/>
                    <a:p>
                      <a:endParaRPr lang="fr-LU"/>
                    </a:p>
                  </a:txBody>
                  <a:tcPr/>
                </a:tc>
                <a:tc rowSpan="4">
                  <a:txBody>
                    <a:bodyPr/>
                    <a:lstStyle/>
                    <a:p>
                      <a:pPr algn="ctr" fontAlgn="ctr"/>
                      <a:r>
                        <a:rPr lang="fr-LU" sz="700" b="0" i="0" u="none" strike="noStrike">
                          <a:solidFill>
                            <a:srgbClr val="000000"/>
                          </a:solidFill>
                          <a:effectLst/>
                          <a:latin typeface="Calibri" panose="020F0502020204030204" pitchFamily="34" charset="0"/>
                        </a:rPr>
                        <a:t>Procedural</a:t>
                      </a:r>
                    </a:p>
                  </a:txBody>
                  <a:tcPr marL="5776" marR="5776" marT="57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fr-LU" sz="700" b="0" i="0" u="none" strike="noStrike">
                          <a:solidFill>
                            <a:srgbClr val="000000"/>
                          </a:solidFill>
                          <a:effectLst/>
                          <a:latin typeface="Calibri" panose="020F0502020204030204" pitchFamily="34" charset="0"/>
                        </a:rPr>
                        <a:t>Guideline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2383729"/>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System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1791182"/>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Task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4012871"/>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Feedback and REX</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060781"/>
                  </a:ext>
                </a:extLst>
              </a:tr>
              <a:tr h="219071">
                <a:tc vMerge="1">
                  <a:txBody>
                    <a:bodyPr/>
                    <a:lstStyle/>
                    <a:p>
                      <a:endParaRPr lang="fr-LU"/>
                    </a:p>
                  </a:txBody>
                  <a:tcPr/>
                </a:tc>
                <a:tc rowSpan="5">
                  <a:txBody>
                    <a:bodyPr/>
                    <a:lstStyle/>
                    <a:p>
                      <a:pPr algn="ctr" fontAlgn="ctr"/>
                      <a:r>
                        <a:rPr lang="fr-LU" sz="700" b="0" i="0" u="none" strike="noStrike">
                          <a:solidFill>
                            <a:srgbClr val="000000"/>
                          </a:solidFill>
                          <a:effectLst/>
                          <a:latin typeface="Calibri" panose="020F0502020204030204" pitchFamily="34" charset="0"/>
                        </a:rPr>
                        <a:t>Motivation</a:t>
                      </a:r>
                    </a:p>
                  </a:txBody>
                  <a:tcPr marL="5776" marR="5776" marT="57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LU" sz="700" b="0" i="0" u="none" strike="noStrike">
                          <a:solidFill>
                            <a:srgbClr val="000000"/>
                          </a:solidFill>
                          <a:effectLst/>
                          <a:latin typeface="Calibri" panose="020F0502020204030204" pitchFamily="34" charset="0"/>
                        </a:rPr>
                        <a:t>Goal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654759"/>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Mood</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7415508"/>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Trust</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8192976"/>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Salary</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7669899"/>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Job interest</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3689447"/>
                  </a:ext>
                </a:extLst>
              </a:tr>
              <a:tr h="219071">
                <a:tc vMerge="1">
                  <a:txBody>
                    <a:bodyPr/>
                    <a:lstStyle/>
                    <a:p>
                      <a:endParaRPr lang="fr-LU"/>
                    </a:p>
                  </a:txBody>
                  <a:tcPr/>
                </a:tc>
                <a:tc rowSpan="4">
                  <a:txBody>
                    <a:bodyPr/>
                    <a:lstStyle/>
                    <a:p>
                      <a:pPr algn="ctr" fontAlgn="ctr"/>
                      <a:r>
                        <a:rPr lang="fr-LU" sz="700" b="0" i="0" u="none" strike="noStrike">
                          <a:solidFill>
                            <a:srgbClr val="000000"/>
                          </a:solidFill>
                          <a:effectLst/>
                          <a:latin typeface="Calibri" panose="020F0502020204030204" pitchFamily="34" charset="0"/>
                        </a:rPr>
                        <a:t>Cognitive</a:t>
                      </a:r>
                    </a:p>
                  </a:txBody>
                  <a:tcPr marL="5776" marR="5776" marT="57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LU" sz="700" b="0" i="0" u="none" strike="noStrike">
                          <a:solidFill>
                            <a:srgbClr val="000000"/>
                          </a:solidFill>
                          <a:effectLst/>
                          <a:latin typeface="Calibri" panose="020F0502020204030204" pitchFamily="34" charset="0"/>
                        </a:rPr>
                        <a:t>Awarenes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7618035"/>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err="1">
                          <a:solidFill>
                            <a:srgbClr val="000000"/>
                          </a:solidFill>
                          <a:effectLst/>
                          <a:latin typeface="Calibri" panose="020F0502020204030204" pitchFamily="34" charset="0"/>
                        </a:rPr>
                        <a:t>Problem</a:t>
                      </a:r>
                      <a:r>
                        <a:rPr lang="fr-LU" sz="700" b="0" i="0" u="none" strike="noStrike">
                          <a:solidFill>
                            <a:srgbClr val="000000"/>
                          </a:solidFill>
                          <a:effectLst/>
                          <a:latin typeface="Calibri" panose="020F0502020204030204" pitchFamily="34" charset="0"/>
                        </a:rPr>
                        <a:t> </a:t>
                      </a:r>
                      <a:r>
                        <a:rPr lang="fr-LU" sz="700" b="0" i="0" u="none" strike="noStrike" err="1">
                          <a:solidFill>
                            <a:srgbClr val="000000"/>
                          </a:solidFill>
                          <a:effectLst/>
                          <a:latin typeface="Calibri" panose="020F0502020204030204" pitchFamily="34" charset="0"/>
                        </a:rPr>
                        <a:t>solving</a:t>
                      </a:r>
                      <a:endParaRPr lang="fr-LU" sz="700" b="0" i="0" u="none" strike="noStrike">
                        <a:solidFill>
                          <a:srgbClr val="000000"/>
                        </a:solidFill>
                        <a:effectLst/>
                        <a:latin typeface="Calibri" panose="020F0502020204030204" pitchFamily="34" charset="0"/>
                      </a:endParaRP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3311030"/>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Personal experience</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6631970"/>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Cognitive work load</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7627511"/>
                  </a:ext>
                </a:extLst>
              </a:tr>
              <a:tr h="219071">
                <a:tc vMerge="1">
                  <a:txBody>
                    <a:bodyPr/>
                    <a:lstStyle/>
                    <a:p>
                      <a:endParaRPr lang="fr-LU"/>
                    </a:p>
                  </a:txBody>
                  <a:tcPr/>
                </a:tc>
                <a:tc rowSpan="4">
                  <a:txBody>
                    <a:bodyPr/>
                    <a:lstStyle/>
                    <a:p>
                      <a:pPr algn="ctr" fontAlgn="ctr"/>
                      <a:r>
                        <a:rPr lang="fr-LU" sz="700" b="0" i="0" u="none" strike="noStrike">
                          <a:solidFill>
                            <a:srgbClr val="000000"/>
                          </a:solidFill>
                          <a:effectLst/>
                          <a:latin typeface="Calibri" panose="020F0502020204030204" pitchFamily="34" charset="0"/>
                        </a:rPr>
                        <a:t>Organisation</a:t>
                      </a:r>
                    </a:p>
                  </a:txBody>
                  <a:tcPr marL="5776" marR="5776" marT="57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fr-LU" sz="700" b="0" i="0" u="none" strike="noStrike">
                          <a:solidFill>
                            <a:srgbClr val="000000"/>
                          </a:solidFill>
                          <a:effectLst/>
                          <a:latin typeface="Calibri" panose="020F0502020204030204" pitchFamily="34" charset="0"/>
                        </a:rPr>
                        <a:t>Governance</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3216692"/>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Structure</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6158748"/>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a:solidFill>
                            <a:srgbClr val="000000"/>
                          </a:solidFill>
                          <a:effectLst/>
                          <a:latin typeface="Calibri" panose="020F0502020204030204" pitchFamily="34" charset="0"/>
                        </a:rPr>
                        <a:t>Means and tools</a:t>
                      </a: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8609298"/>
                  </a:ext>
                </a:extLst>
              </a:tr>
              <a:tr h="219071">
                <a:tc vMerge="1">
                  <a:txBody>
                    <a:bodyPr/>
                    <a:lstStyle/>
                    <a:p>
                      <a:endParaRPr lang="fr-LU"/>
                    </a:p>
                  </a:txBody>
                  <a:tcPr/>
                </a:tc>
                <a:tc vMerge="1">
                  <a:txBody>
                    <a:bodyPr/>
                    <a:lstStyle/>
                    <a:p>
                      <a:endParaRPr lang="fr-LU"/>
                    </a:p>
                  </a:txBody>
                  <a:tcPr/>
                </a:tc>
                <a:tc>
                  <a:txBody>
                    <a:bodyPr/>
                    <a:lstStyle/>
                    <a:p>
                      <a:pPr algn="ctr" fontAlgn="ctr"/>
                      <a:r>
                        <a:rPr lang="fr-LU" sz="700" b="0" i="0" u="none" strike="noStrike" err="1">
                          <a:solidFill>
                            <a:srgbClr val="000000"/>
                          </a:solidFill>
                          <a:effectLst/>
                          <a:latin typeface="Calibri" panose="020F0502020204030204" pitchFamily="34" charset="0"/>
                        </a:rPr>
                        <a:t>Skills</a:t>
                      </a:r>
                      <a:endParaRPr lang="fr-LU" sz="700" b="0" i="0" u="none" strike="noStrike">
                        <a:solidFill>
                          <a:srgbClr val="000000"/>
                        </a:solidFill>
                        <a:effectLst/>
                        <a:latin typeface="Calibri" panose="020F0502020204030204" pitchFamily="34" charset="0"/>
                      </a:endParaRPr>
                    </a:p>
                  </a:txBody>
                  <a:tcPr marL="5776" marR="5776" marT="577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0371365"/>
                  </a:ext>
                </a:extLst>
              </a:tr>
            </a:tbl>
          </a:graphicData>
        </a:graphic>
      </p:graphicFrame>
      <p:sp>
        <p:nvSpPr>
          <p:cNvPr id="18" name="Arrow: Right 17">
            <a:extLst>
              <a:ext uri="{FF2B5EF4-FFF2-40B4-BE49-F238E27FC236}">
                <a16:creationId xmlns:a16="http://schemas.microsoft.com/office/drawing/2014/main" id="{B2C0CC89-A125-4B71-C558-D2AE8FD0855A}"/>
              </a:ext>
            </a:extLst>
          </p:cNvPr>
          <p:cNvSpPr/>
          <p:nvPr/>
        </p:nvSpPr>
        <p:spPr>
          <a:xfrm>
            <a:off x="5836971" y="3499948"/>
            <a:ext cx="840685" cy="298573"/>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554492"/>
            <a:endParaRPr lang="fr-LU" sz="1092">
              <a:solidFill>
                <a:srgbClr val="FFFFFF"/>
              </a:solidFill>
              <a:latin typeface="Arial"/>
            </a:endParaRPr>
          </a:p>
        </p:txBody>
      </p:sp>
    </p:spTree>
    <p:extLst>
      <p:ext uri="{BB962C8B-B14F-4D97-AF65-F5344CB8AC3E}">
        <p14:creationId xmlns:p14="http://schemas.microsoft.com/office/powerpoint/2010/main" val="3479683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AsOne/>
      </p:bldGraphic>
      <p:bldP spid="1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5" name="Title 4">
            <a:extLst>
              <a:ext uri="{FF2B5EF4-FFF2-40B4-BE49-F238E27FC236}">
                <a16:creationId xmlns:a16="http://schemas.microsoft.com/office/drawing/2014/main" id="{6884CFA3-B97E-139B-D17D-81353D5FF326}"/>
              </a:ext>
            </a:extLst>
          </p:cNvPr>
          <p:cNvSpPr>
            <a:spLocks noGrp="1"/>
          </p:cNvSpPr>
          <p:nvPr>
            <p:ph type="title"/>
          </p:nvPr>
        </p:nvSpPr>
        <p:spPr/>
        <p:txBody>
          <a:bodyPr/>
          <a:lstStyle/>
          <a:p>
            <a:r>
              <a:rPr lang="fr-LU"/>
              <a:t>FATIGUE and STRESS IMPACTS</a:t>
            </a:r>
          </a:p>
        </p:txBody>
      </p:sp>
      <p:sp>
        <p:nvSpPr>
          <p:cNvPr id="6" name="Text Placeholder 5">
            <a:extLst>
              <a:ext uri="{FF2B5EF4-FFF2-40B4-BE49-F238E27FC236}">
                <a16:creationId xmlns:a16="http://schemas.microsoft.com/office/drawing/2014/main" id="{50C5E9AF-6CEB-FAB8-712E-29729BE76C80}"/>
              </a:ext>
            </a:extLst>
          </p:cNvPr>
          <p:cNvSpPr>
            <a:spLocks noGrp="1"/>
          </p:cNvSpPr>
          <p:nvPr>
            <p:ph type="body" sz="quarter" idx="12"/>
          </p:nvPr>
        </p:nvSpPr>
        <p:spPr/>
        <p:txBody>
          <a:bodyPr/>
          <a:lstStyle/>
          <a:p>
            <a:r>
              <a:rPr lang="fr-LU"/>
              <a:t>Small </a:t>
            </a:r>
            <a:r>
              <a:rPr lang="fr-LU" err="1"/>
              <a:t>signals</a:t>
            </a:r>
            <a:r>
              <a:rPr lang="fr-LU"/>
              <a:t>, big issues…</a:t>
            </a:r>
          </a:p>
        </p:txBody>
      </p:sp>
      <p:graphicFrame>
        <p:nvGraphicFramePr>
          <p:cNvPr id="7" name="Diagram 6">
            <a:extLst>
              <a:ext uri="{FF2B5EF4-FFF2-40B4-BE49-F238E27FC236}">
                <a16:creationId xmlns:a16="http://schemas.microsoft.com/office/drawing/2014/main" id="{FFCDCA87-550A-CEE5-0061-EDB123A5488A}"/>
              </a:ext>
            </a:extLst>
          </p:cNvPr>
          <p:cNvGraphicFramePr/>
          <p:nvPr>
            <p:extLst>
              <p:ext uri="{D42A27DB-BD31-4B8C-83A1-F6EECF244321}">
                <p14:modId xmlns:p14="http://schemas.microsoft.com/office/powerpoint/2010/main" val="4030590446"/>
              </p:ext>
            </p:extLst>
          </p:nvPr>
        </p:nvGraphicFramePr>
        <p:xfrm>
          <a:off x="619436" y="1310353"/>
          <a:ext cx="7196346" cy="51876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946 Workload Illustrations - Free in SVG, PNG, EPS - IconScout">
            <a:extLst>
              <a:ext uri="{FF2B5EF4-FFF2-40B4-BE49-F238E27FC236}">
                <a16:creationId xmlns:a16="http://schemas.microsoft.com/office/drawing/2014/main" id="{84F7A240-2548-E22D-D6A9-025673D2E8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15781" y="1093105"/>
            <a:ext cx="2980400" cy="259918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61AEDBD-9116-18C8-0DCB-7F7D90B842F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31432" y="4317012"/>
            <a:ext cx="3131112" cy="1924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499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5" name="Title 4">
            <a:extLst>
              <a:ext uri="{FF2B5EF4-FFF2-40B4-BE49-F238E27FC236}">
                <a16:creationId xmlns:a16="http://schemas.microsoft.com/office/drawing/2014/main" id="{6884CFA3-B97E-139B-D17D-81353D5FF326}"/>
              </a:ext>
            </a:extLst>
          </p:cNvPr>
          <p:cNvSpPr>
            <a:spLocks noGrp="1"/>
          </p:cNvSpPr>
          <p:nvPr>
            <p:ph type="title"/>
          </p:nvPr>
        </p:nvSpPr>
        <p:spPr/>
        <p:txBody>
          <a:bodyPr/>
          <a:lstStyle/>
          <a:p>
            <a:r>
              <a:rPr lang="fr-LU"/>
              <a:t>FATIGUE and STRESS PRECURSORS</a:t>
            </a:r>
          </a:p>
        </p:txBody>
      </p:sp>
      <p:sp>
        <p:nvSpPr>
          <p:cNvPr id="6" name="Text Placeholder 5">
            <a:extLst>
              <a:ext uri="{FF2B5EF4-FFF2-40B4-BE49-F238E27FC236}">
                <a16:creationId xmlns:a16="http://schemas.microsoft.com/office/drawing/2014/main" id="{50C5E9AF-6CEB-FAB8-712E-29729BE76C80}"/>
              </a:ext>
            </a:extLst>
          </p:cNvPr>
          <p:cNvSpPr>
            <a:spLocks noGrp="1"/>
          </p:cNvSpPr>
          <p:nvPr>
            <p:ph type="body" sz="quarter" idx="12"/>
          </p:nvPr>
        </p:nvSpPr>
        <p:spPr/>
        <p:txBody>
          <a:bodyPr/>
          <a:lstStyle/>
          <a:p>
            <a:r>
              <a:rPr lang="fr-LU" err="1"/>
              <a:t>What</a:t>
            </a:r>
            <a:r>
              <a:rPr lang="fr-LU"/>
              <a:t> </a:t>
            </a:r>
            <a:r>
              <a:rPr lang="fr-LU" err="1"/>
              <a:t>comes</a:t>
            </a:r>
            <a:r>
              <a:rPr lang="fr-LU"/>
              <a:t> </a:t>
            </a:r>
            <a:r>
              <a:rPr lang="fr-LU" err="1"/>
              <a:t>around</a:t>
            </a:r>
            <a:r>
              <a:rPr lang="fr-LU"/>
              <a:t> …</a:t>
            </a:r>
            <a:r>
              <a:rPr lang="fr-LU" err="1"/>
              <a:t>goes</a:t>
            </a:r>
            <a:r>
              <a:rPr lang="fr-LU"/>
              <a:t> </a:t>
            </a:r>
            <a:r>
              <a:rPr lang="fr-LU" err="1"/>
              <a:t>around</a:t>
            </a:r>
            <a:r>
              <a:rPr lang="fr-LU"/>
              <a:t> …</a:t>
            </a:r>
          </a:p>
        </p:txBody>
      </p:sp>
      <p:graphicFrame>
        <p:nvGraphicFramePr>
          <p:cNvPr id="8" name="Diagram 7">
            <a:extLst>
              <a:ext uri="{FF2B5EF4-FFF2-40B4-BE49-F238E27FC236}">
                <a16:creationId xmlns:a16="http://schemas.microsoft.com/office/drawing/2014/main" id="{BA7EADD4-003F-A4A6-2E9F-3FE2086450FC}"/>
              </a:ext>
            </a:extLst>
          </p:cNvPr>
          <p:cNvGraphicFramePr/>
          <p:nvPr>
            <p:extLst>
              <p:ext uri="{D42A27DB-BD31-4B8C-83A1-F6EECF244321}">
                <p14:modId xmlns:p14="http://schemas.microsoft.com/office/powerpoint/2010/main" val="3109241061"/>
              </p:ext>
            </p:extLst>
          </p:nvPr>
        </p:nvGraphicFramePr>
        <p:xfrm>
          <a:off x="456405" y="1197864"/>
          <a:ext cx="7465351" cy="50436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Arrow: Right 3">
            <a:extLst>
              <a:ext uri="{FF2B5EF4-FFF2-40B4-BE49-F238E27FC236}">
                <a16:creationId xmlns:a16="http://schemas.microsoft.com/office/drawing/2014/main" id="{47C747C3-0620-6CAB-5E67-465CD2D0984A}"/>
              </a:ext>
            </a:extLst>
          </p:cNvPr>
          <p:cNvSpPr/>
          <p:nvPr/>
        </p:nvSpPr>
        <p:spPr>
          <a:xfrm>
            <a:off x="6240675" y="3622633"/>
            <a:ext cx="1681081" cy="1121363"/>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554492"/>
            <a:endParaRPr lang="fr-LU" sz="1092">
              <a:solidFill>
                <a:srgbClr val="FFFFFF"/>
              </a:solidFill>
              <a:latin typeface="Arial"/>
            </a:endParaRPr>
          </a:p>
        </p:txBody>
      </p:sp>
      <p:sp>
        <p:nvSpPr>
          <p:cNvPr id="7" name="TextBox 6">
            <a:extLst>
              <a:ext uri="{FF2B5EF4-FFF2-40B4-BE49-F238E27FC236}">
                <a16:creationId xmlns:a16="http://schemas.microsoft.com/office/drawing/2014/main" id="{A9D647CF-9209-2763-0C01-A9C18B33A8C8}"/>
              </a:ext>
            </a:extLst>
          </p:cNvPr>
          <p:cNvSpPr txBox="1"/>
          <p:nvPr/>
        </p:nvSpPr>
        <p:spPr>
          <a:xfrm>
            <a:off x="8062580" y="2923521"/>
            <a:ext cx="3673016" cy="2555700"/>
          </a:xfrm>
          <a:prstGeom prst="rect">
            <a:avLst/>
          </a:prstGeom>
          <a:solidFill>
            <a:srgbClr val="FFFF00"/>
          </a:solidFill>
        </p:spPr>
        <p:txBody>
          <a:bodyPr wrap="square" rtlCol="0">
            <a:spAutoFit/>
          </a:bodyPr>
          <a:lstStyle/>
          <a:p>
            <a:pPr algn="ctr" defTabSz="554492"/>
            <a:r>
              <a:rPr lang="fr-LU" sz="2668">
                <a:solidFill>
                  <a:srgbClr val="58585A"/>
                </a:solidFill>
                <a:latin typeface="Arial"/>
              </a:rPr>
              <a:t>All </a:t>
            </a:r>
            <a:r>
              <a:rPr lang="fr-LU" sz="2668" err="1">
                <a:solidFill>
                  <a:srgbClr val="58585A"/>
                </a:solidFill>
                <a:latin typeface="Arial"/>
              </a:rPr>
              <a:t>precursors</a:t>
            </a:r>
            <a:r>
              <a:rPr lang="fr-LU" sz="2668">
                <a:solidFill>
                  <a:srgbClr val="58585A"/>
                </a:solidFill>
                <a:latin typeface="Arial"/>
              </a:rPr>
              <a:t> must </a:t>
            </a:r>
            <a:r>
              <a:rPr lang="fr-LU" sz="2668" err="1">
                <a:solidFill>
                  <a:srgbClr val="58585A"/>
                </a:solidFill>
                <a:latin typeface="Arial"/>
              </a:rPr>
              <a:t>be</a:t>
            </a:r>
            <a:r>
              <a:rPr lang="fr-LU" sz="2668">
                <a:solidFill>
                  <a:srgbClr val="58585A"/>
                </a:solidFill>
                <a:latin typeface="Arial"/>
              </a:rPr>
              <a:t> </a:t>
            </a:r>
            <a:r>
              <a:rPr lang="fr-LU" sz="2668" err="1">
                <a:solidFill>
                  <a:srgbClr val="58585A"/>
                </a:solidFill>
                <a:latin typeface="Arial"/>
              </a:rPr>
              <a:t>taken</a:t>
            </a:r>
            <a:r>
              <a:rPr lang="fr-LU" sz="2668">
                <a:solidFill>
                  <a:srgbClr val="58585A"/>
                </a:solidFill>
                <a:latin typeface="Arial"/>
              </a:rPr>
              <a:t> in </a:t>
            </a:r>
            <a:r>
              <a:rPr lang="fr-LU" sz="2668" err="1">
                <a:solidFill>
                  <a:srgbClr val="58585A"/>
                </a:solidFill>
                <a:latin typeface="Arial"/>
              </a:rPr>
              <a:t>account</a:t>
            </a:r>
            <a:r>
              <a:rPr lang="fr-LU" sz="2668">
                <a:solidFill>
                  <a:srgbClr val="58585A"/>
                </a:solidFill>
                <a:latin typeface="Arial"/>
              </a:rPr>
              <a:t>,</a:t>
            </a:r>
          </a:p>
          <a:p>
            <a:pPr algn="ctr" defTabSz="554492"/>
            <a:r>
              <a:rPr lang="fr-LU" sz="2668" err="1">
                <a:solidFill>
                  <a:srgbClr val="58585A"/>
                </a:solidFill>
                <a:latin typeface="Arial"/>
              </a:rPr>
              <a:t>depending</a:t>
            </a:r>
            <a:r>
              <a:rPr lang="fr-LU" sz="2668">
                <a:solidFill>
                  <a:srgbClr val="58585A"/>
                </a:solidFill>
                <a:latin typeface="Arial"/>
              </a:rPr>
              <a:t> on the </a:t>
            </a:r>
            <a:r>
              <a:rPr lang="fr-LU" sz="2668" err="1">
                <a:solidFill>
                  <a:srgbClr val="58585A"/>
                </a:solidFill>
                <a:latin typeface="Arial"/>
              </a:rPr>
              <a:t>company</a:t>
            </a:r>
            <a:r>
              <a:rPr lang="fr-LU" sz="2668">
                <a:solidFill>
                  <a:srgbClr val="58585A"/>
                </a:solidFill>
                <a:latin typeface="Arial"/>
              </a:rPr>
              <a:t> </a:t>
            </a:r>
            <a:r>
              <a:rPr lang="fr-LU" sz="2668" err="1">
                <a:solidFill>
                  <a:srgbClr val="58585A"/>
                </a:solidFill>
                <a:latin typeface="Arial"/>
              </a:rPr>
              <a:t>features</a:t>
            </a:r>
            <a:r>
              <a:rPr lang="fr-LU" sz="2668">
                <a:solidFill>
                  <a:srgbClr val="58585A"/>
                </a:solidFill>
                <a:latin typeface="Arial"/>
              </a:rPr>
              <a:t> (</a:t>
            </a:r>
            <a:r>
              <a:rPr lang="fr-LU" sz="2668" err="1">
                <a:solidFill>
                  <a:srgbClr val="58585A"/>
                </a:solidFill>
                <a:latin typeface="Arial"/>
              </a:rPr>
              <a:t>several</a:t>
            </a:r>
            <a:r>
              <a:rPr lang="fr-LU" sz="2668">
                <a:solidFill>
                  <a:srgbClr val="58585A"/>
                </a:solidFill>
                <a:latin typeface="Arial"/>
              </a:rPr>
              <a:t> sites, </a:t>
            </a:r>
            <a:r>
              <a:rPr lang="fr-LU" sz="2668" err="1">
                <a:solidFill>
                  <a:srgbClr val="58585A"/>
                </a:solidFill>
                <a:latin typeface="Arial"/>
              </a:rPr>
              <a:t>different</a:t>
            </a:r>
            <a:r>
              <a:rPr lang="fr-LU" sz="2668">
                <a:solidFill>
                  <a:srgbClr val="58585A"/>
                </a:solidFill>
                <a:latin typeface="Arial"/>
              </a:rPr>
              <a:t> </a:t>
            </a:r>
            <a:r>
              <a:rPr lang="fr-LU" sz="2668" err="1">
                <a:solidFill>
                  <a:srgbClr val="58585A"/>
                </a:solidFill>
                <a:latin typeface="Arial"/>
              </a:rPr>
              <a:t>activities</a:t>
            </a:r>
            <a:r>
              <a:rPr lang="fr-LU" sz="2668">
                <a:solidFill>
                  <a:srgbClr val="58585A"/>
                </a:solidFill>
                <a:latin typeface="Arial"/>
              </a:rPr>
              <a:t>) </a:t>
            </a:r>
          </a:p>
        </p:txBody>
      </p:sp>
    </p:spTree>
    <p:extLst>
      <p:ext uri="{BB962C8B-B14F-4D97-AF65-F5344CB8AC3E}">
        <p14:creationId xmlns:p14="http://schemas.microsoft.com/office/powerpoint/2010/main" val="4094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4"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5" name="Title 4">
            <a:extLst>
              <a:ext uri="{FF2B5EF4-FFF2-40B4-BE49-F238E27FC236}">
                <a16:creationId xmlns:a16="http://schemas.microsoft.com/office/drawing/2014/main" id="{6884CFA3-B97E-139B-D17D-81353D5FF326}"/>
              </a:ext>
            </a:extLst>
          </p:cNvPr>
          <p:cNvSpPr>
            <a:spLocks noGrp="1"/>
          </p:cNvSpPr>
          <p:nvPr>
            <p:ph type="title"/>
          </p:nvPr>
        </p:nvSpPr>
        <p:spPr/>
        <p:txBody>
          <a:bodyPr/>
          <a:lstStyle/>
          <a:p>
            <a:r>
              <a:rPr lang="fr-LU"/>
              <a:t>FATIGUE and WORKLOAD MANAGEMENT</a:t>
            </a:r>
          </a:p>
        </p:txBody>
      </p:sp>
      <p:sp>
        <p:nvSpPr>
          <p:cNvPr id="6" name="Text Placeholder 5">
            <a:extLst>
              <a:ext uri="{FF2B5EF4-FFF2-40B4-BE49-F238E27FC236}">
                <a16:creationId xmlns:a16="http://schemas.microsoft.com/office/drawing/2014/main" id="{50C5E9AF-6CEB-FAB8-712E-29729BE76C80}"/>
              </a:ext>
            </a:extLst>
          </p:cNvPr>
          <p:cNvSpPr>
            <a:spLocks noGrp="1"/>
          </p:cNvSpPr>
          <p:nvPr>
            <p:ph type="body" sz="quarter" idx="12"/>
          </p:nvPr>
        </p:nvSpPr>
        <p:spPr/>
        <p:txBody>
          <a:bodyPr/>
          <a:lstStyle/>
          <a:p>
            <a:r>
              <a:rPr lang="fr-LU" err="1"/>
              <a:t>What</a:t>
            </a:r>
            <a:r>
              <a:rPr lang="fr-LU"/>
              <a:t> to do </a:t>
            </a:r>
            <a:r>
              <a:rPr lang="fr-LU" err="1"/>
              <a:t>with</a:t>
            </a:r>
            <a:r>
              <a:rPr lang="fr-LU"/>
              <a:t> </a:t>
            </a:r>
            <a:r>
              <a:rPr lang="fr-LU" err="1"/>
              <a:t>it</a:t>
            </a:r>
            <a:r>
              <a:rPr lang="fr-LU"/>
              <a:t> …</a:t>
            </a:r>
          </a:p>
        </p:txBody>
      </p:sp>
      <p:sp>
        <p:nvSpPr>
          <p:cNvPr id="25" name="TextBox 24">
            <a:extLst>
              <a:ext uri="{FF2B5EF4-FFF2-40B4-BE49-F238E27FC236}">
                <a16:creationId xmlns:a16="http://schemas.microsoft.com/office/drawing/2014/main" id="{568F651C-9850-8946-B877-AAF64CDBEA51}"/>
              </a:ext>
            </a:extLst>
          </p:cNvPr>
          <p:cNvSpPr txBox="1"/>
          <p:nvPr/>
        </p:nvSpPr>
        <p:spPr>
          <a:xfrm>
            <a:off x="619820" y="996092"/>
            <a:ext cx="10444061" cy="5131598"/>
          </a:xfrm>
          <a:prstGeom prst="rect">
            <a:avLst/>
          </a:prstGeom>
          <a:noFill/>
        </p:spPr>
        <p:txBody>
          <a:bodyPr wrap="square" rtlCol="0">
            <a:spAutoFit/>
          </a:bodyPr>
          <a:lstStyle/>
          <a:p>
            <a:pPr defTabSz="554492"/>
            <a:r>
              <a:rPr lang="fr-LU" sz="1940" b="1">
                <a:solidFill>
                  <a:srgbClr val="58585A"/>
                </a:solidFill>
                <a:latin typeface="Arial"/>
              </a:rPr>
              <a:t>Fatigue and stress/</a:t>
            </a:r>
            <a:r>
              <a:rPr lang="fr-LU" sz="1940" b="1" err="1">
                <a:solidFill>
                  <a:srgbClr val="58585A"/>
                </a:solidFill>
                <a:latin typeface="Arial"/>
              </a:rPr>
              <a:t>workload</a:t>
            </a:r>
            <a:r>
              <a:rPr lang="fr-LU" sz="1940" b="1">
                <a:solidFill>
                  <a:srgbClr val="58585A"/>
                </a:solidFill>
                <a:latin typeface="Arial"/>
              </a:rPr>
              <a:t> management in maintenance </a:t>
            </a:r>
            <a:r>
              <a:rPr lang="fr-LU" sz="1940" b="1" err="1">
                <a:solidFill>
                  <a:srgbClr val="58585A"/>
                </a:solidFill>
                <a:latin typeface="Arial"/>
              </a:rPr>
              <a:t>entities</a:t>
            </a:r>
            <a:r>
              <a:rPr lang="fr-LU" sz="1940" b="1">
                <a:solidFill>
                  <a:srgbClr val="58585A"/>
                </a:solidFill>
                <a:latin typeface="Arial"/>
              </a:rPr>
              <a:t> </a:t>
            </a:r>
            <a:r>
              <a:rPr lang="fr-LU" sz="1940" b="1" err="1">
                <a:solidFill>
                  <a:srgbClr val="58585A"/>
                </a:solidFill>
                <a:latin typeface="Arial"/>
              </a:rPr>
              <a:t>consists</a:t>
            </a:r>
            <a:r>
              <a:rPr lang="fr-LU" sz="1940" b="1">
                <a:solidFill>
                  <a:srgbClr val="58585A"/>
                </a:solidFill>
                <a:latin typeface="Arial"/>
              </a:rPr>
              <a:t> in relevant actions in </a:t>
            </a:r>
            <a:r>
              <a:rPr lang="fr-LU" sz="1940" b="1" err="1">
                <a:solidFill>
                  <a:srgbClr val="58585A"/>
                </a:solidFill>
                <a:latin typeface="Arial"/>
              </a:rPr>
              <a:t>order</a:t>
            </a:r>
            <a:r>
              <a:rPr lang="fr-LU" sz="1940" b="1">
                <a:solidFill>
                  <a:srgbClr val="58585A"/>
                </a:solidFill>
                <a:latin typeface="Arial"/>
              </a:rPr>
              <a:t> to :</a:t>
            </a:r>
          </a:p>
          <a:p>
            <a:pPr defTabSz="554492"/>
            <a:endParaRPr lang="fr-LU" sz="1455"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Improve</a:t>
            </a:r>
            <a:r>
              <a:rPr lang="fr-LU" sz="1213" b="1">
                <a:solidFill>
                  <a:srgbClr val="58585A"/>
                </a:solidFill>
                <a:latin typeface="Arial"/>
              </a:rPr>
              <a:t> </a:t>
            </a:r>
            <a:r>
              <a:rPr lang="fr-LU" sz="1213" b="1" err="1">
                <a:solidFill>
                  <a:srgbClr val="58585A"/>
                </a:solidFill>
                <a:latin typeface="Arial"/>
              </a:rPr>
              <a:t>awareness</a:t>
            </a:r>
            <a:r>
              <a:rPr lang="fr-LU" sz="1213" b="1">
                <a:solidFill>
                  <a:srgbClr val="58585A"/>
                </a:solidFill>
                <a:latin typeface="Arial"/>
              </a:rPr>
              <a:t> of people</a:t>
            </a:r>
          </a:p>
          <a:p>
            <a:pPr defTabSz="554492"/>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Improve</a:t>
            </a:r>
            <a:r>
              <a:rPr lang="fr-LU" sz="1213" b="1">
                <a:solidFill>
                  <a:srgbClr val="58585A"/>
                </a:solidFill>
                <a:latin typeface="Arial"/>
              </a:rPr>
              <a:t> </a:t>
            </a:r>
            <a:r>
              <a:rPr lang="fr-LU" sz="1213" b="1" err="1">
                <a:solidFill>
                  <a:srgbClr val="58585A"/>
                </a:solidFill>
                <a:latin typeface="Arial"/>
              </a:rPr>
              <a:t>decision</a:t>
            </a:r>
            <a:r>
              <a:rPr lang="fr-LU" sz="1213" b="1">
                <a:solidFill>
                  <a:srgbClr val="58585A"/>
                </a:solidFill>
                <a:latin typeface="Arial"/>
              </a:rPr>
              <a:t> </a:t>
            </a:r>
            <a:r>
              <a:rPr lang="fr-LU" sz="1213" b="1" err="1">
                <a:solidFill>
                  <a:srgbClr val="58585A"/>
                </a:solidFill>
                <a:latin typeface="Arial"/>
              </a:rPr>
              <a:t>making</a:t>
            </a:r>
            <a:endParaRPr lang="fr-LU" sz="1213" b="1">
              <a:solidFill>
                <a:srgbClr val="58585A"/>
              </a:solidFill>
              <a:latin typeface="Arial"/>
            </a:endParaRPr>
          </a:p>
          <a:p>
            <a:pPr defTabSz="554492"/>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Improve</a:t>
            </a:r>
            <a:r>
              <a:rPr lang="fr-LU" sz="1213" b="1">
                <a:solidFill>
                  <a:srgbClr val="58585A"/>
                </a:solidFill>
                <a:latin typeface="Arial"/>
              </a:rPr>
              <a:t> </a:t>
            </a:r>
            <a:r>
              <a:rPr lang="fr-LU" sz="1213" b="1" err="1">
                <a:solidFill>
                  <a:srgbClr val="58585A"/>
                </a:solidFill>
                <a:latin typeface="Arial"/>
              </a:rPr>
              <a:t>efficiency</a:t>
            </a:r>
            <a:r>
              <a:rPr lang="fr-LU" sz="1213" b="1">
                <a:solidFill>
                  <a:srgbClr val="58585A"/>
                </a:solidFill>
                <a:latin typeface="Arial"/>
              </a:rPr>
              <a:t> of </a:t>
            </a:r>
            <a:r>
              <a:rPr lang="fr-LU" sz="1213" b="1" err="1">
                <a:solidFill>
                  <a:srgbClr val="58585A"/>
                </a:solidFill>
                <a:latin typeface="Arial"/>
              </a:rPr>
              <a:t>tasks</a:t>
            </a:r>
            <a:r>
              <a:rPr lang="fr-LU" sz="1213" b="1">
                <a:solidFill>
                  <a:srgbClr val="58585A"/>
                </a:solidFill>
                <a:latin typeface="Arial"/>
              </a:rPr>
              <a:t> </a:t>
            </a:r>
            <a:r>
              <a:rPr lang="fr-LU" sz="1213" b="1" err="1">
                <a:solidFill>
                  <a:srgbClr val="58585A"/>
                </a:solidFill>
                <a:latin typeface="Arial"/>
              </a:rPr>
              <a:t>performed</a:t>
            </a:r>
            <a:endParaRPr lang="fr-LU" sz="1213" b="1">
              <a:solidFill>
                <a:srgbClr val="58585A"/>
              </a:solidFill>
              <a:latin typeface="Arial"/>
            </a:endParaRPr>
          </a:p>
          <a:p>
            <a:pPr marL="277246" indent="-277246" defTabSz="554492">
              <a:buFont typeface="Arial" panose="020B0604020202020204" pitchFamily="34" charset="0"/>
              <a:buChar char="•"/>
            </a:pPr>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Improve</a:t>
            </a:r>
            <a:r>
              <a:rPr lang="fr-LU" sz="1213" b="1">
                <a:solidFill>
                  <a:srgbClr val="58585A"/>
                </a:solidFill>
                <a:latin typeface="Arial"/>
              </a:rPr>
              <a:t> </a:t>
            </a:r>
            <a:r>
              <a:rPr lang="fr-LU" sz="1213" b="1" err="1">
                <a:solidFill>
                  <a:srgbClr val="58585A"/>
                </a:solidFill>
                <a:latin typeface="Arial"/>
              </a:rPr>
              <a:t>quality</a:t>
            </a:r>
            <a:r>
              <a:rPr lang="fr-LU" sz="1213" b="1">
                <a:solidFill>
                  <a:srgbClr val="58585A"/>
                </a:solidFill>
                <a:latin typeface="Arial"/>
              </a:rPr>
              <a:t> of service</a:t>
            </a:r>
          </a:p>
          <a:p>
            <a:pPr marL="277246" indent="-277246" defTabSz="554492">
              <a:buFont typeface="Arial" panose="020B0604020202020204" pitchFamily="34" charset="0"/>
              <a:buChar char="•"/>
            </a:pPr>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Improve</a:t>
            </a:r>
            <a:r>
              <a:rPr lang="fr-LU" sz="1213" b="1">
                <a:solidFill>
                  <a:srgbClr val="58585A"/>
                </a:solidFill>
                <a:latin typeface="Arial"/>
              </a:rPr>
              <a:t> </a:t>
            </a:r>
            <a:r>
              <a:rPr lang="fr-LU" sz="1213" b="1" err="1">
                <a:solidFill>
                  <a:srgbClr val="58585A"/>
                </a:solidFill>
                <a:latin typeface="Arial"/>
              </a:rPr>
              <a:t>safety</a:t>
            </a:r>
            <a:r>
              <a:rPr lang="fr-LU" sz="1213" b="1">
                <a:solidFill>
                  <a:srgbClr val="58585A"/>
                </a:solidFill>
                <a:latin typeface="Arial"/>
              </a:rPr>
              <a:t> of people in the </a:t>
            </a:r>
            <a:r>
              <a:rPr lang="fr-LU" sz="1213" b="1" err="1">
                <a:solidFill>
                  <a:srgbClr val="58585A"/>
                </a:solidFill>
                <a:latin typeface="Arial"/>
              </a:rPr>
              <a:t>facilities</a:t>
            </a:r>
            <a:endParaRPr lang="fr-LU" sz="1213" b="1">
              <a:solidFill>
                <a:srgbClr val="58585A"/>
              </a:solidFill>
              <a:latin typeface="Arial"/>
            </a:endParaRPr>
          </a:p>
          <a:p>
            <a:pPr defTabSz="554492"/>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Facilitate</a:t>
            </a:r>
            <a:r>
              <a:rPr lang="fr-LU" sz="1213" b="1">
                <a:solidFill>
                  <a:srgbClr val="58585A"/>
                </a:solidFill>
                <a:latin typeface="Arial"/>
              </a:rPr>
              <a:t> </a:t>
            </a:r>
            <a:r>
              <a:rPr lang="fr-LU" sz="1213" b="1" err="1">
                <a:solidFill>
                  <a:srgbClr val="58585A"/>
                </a:solidFill>
                <a:latin typeface="Arial"/>
              </a:rPr>
              <a:t>Teamwork</a:t>
            </a:r>
            <a:r>
              <a:rPr lang="fr-LU" sz="1213" b="1">
                <a:solidFill>
                  <a:srgbClr val="58585A"/>
                </a:solidFill>
                <a:latin typeface="Arial"/>
              </a:rPr>
              <a:t> </a:t>
            </a:r>
          </a:p>
          <a:p>
            <a:pPr defTabSz="554492"/>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Facilitate</a:t>
            </a:r>
            <a:r>
              <a:rPr lang="fr-LU" sz="1213" b="1">
                <a:solidFill>
                  <a:srgbClr val="58585A"/>
                </a:solidFill>
                <a:latin typeface="Arial"/>
              </a:rPr>
              <a:t> Leadership</a:t>
            </a:r>
          </a:p>
          <a:p>
            <a:pPr defTabSz="554492"/>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Avoid</a:t>
            </a:r>
            <a:r>
              <a:rPr lang="fr-LU" sz="1213" b="1">
                <a:solidFill>
                  <a:srgbClr val="58585A"/>
                </a:solidFill>
                <a:latin typeface="Arial"/>
              </a:rPr>
              <a:t> </a:t>
            </a:r>
            <a:r>
              <a:rPr lang="fr-LU" sz="1213" b="1" err="1">
                <a:solidFill>
                  <a:srgbClr val="58585A"/>
                </a:solidFill>
                <a:latin typeface="Arial"/>
              </a:rPr>
              <a:t>unacceptable</a:t>
            </a:r>
            <a:r>
              <a:rPr lang="fr-LU" sz="1213" b="1">
                <a:solidFill>
                  <a:srgbClr val="58585A"/>
                </a:solidFill>
                <a:latin typeface="Arial"/>
              </a:rPr>
              <a:t> </a:t>
            </a:r>
            <a:r>
              <a:rPr lang="fr-LU" sz="1213" b="1" err="1">
                <a:solidFill>
                  <a:srgbClr val="58585A"/>
                </a:solidFill>
                <a:latin typeface="Arial"/>
              </a:rPr>
              <a:t>errors</a:t>
            </a:r>
            <a:r>
              <a:rPr lang="fr-LU" sz="1213" b="1">
                <a:solidFill>
                  <a:srgbClr val="58585A"/>
                </a:solidFill>
                <a:latin typeface="Arial"/>
              </a:rPr>
              <a:t> </a:t>
            </a:r>
            <a:r>
              <a:rPr lang="fr-LU" sz="1213" b="1" err="1">
                <a:solidFill>
                  <a:srgbClr val="58585A"/>
                </a:solidFill>
                <a:latin typeface="Arial"/>
              </a:rPr>
              <a:t>during</a:t>
            </a:r>
            <a:r>
              <a:rPr lang="fr-LU" sz="1213" b="1">
                <a:solidFill>
                  <a:srgbClr val="58585A"/>
                </a:solidFill>
                <a:latin typeface="Arial"/>
              </a:rPr>
              <a:t> </a:t>
            </a:r>
            <a:r>
              <a:rPr lang="fr-LU" sz="1213" b="1" err="1">
                <a:solidFill>
                  <a:srgbClr val="58585A"/>
                </a:solidFill>
                <a:latin typeface="Arial"/>
              </a:rPr>
              <a:t>operations</a:t>
            </a:r>
            <a:endParaRPr lang="fr-LU" sz="1213" b="1">
              <a:solidFill>
                <a:srgbClr val="58585A"/>
              </a:solidFill>
              <a:latin typeface="Arial"/>
            </a:endParaRPr>
          </a:p>
          <a:p>
            <a:pPr defTabSz="554492"/>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Avoid</a:t>
            </a:r>
            <a:r>
              <a:rPr lang="fr-LU" sz="1213" b="1">
                <a:solidFill>
                  <a:srgbClr val="58585A"/>
                </a:solidFill>
                <a:latin typeface="Arial"/>
              </a:rPr>
              <a:t> </a:t>
            </a:r>
            <a:r>
              <a:rPr lang="fr-LU" sz="1213" b="1" err="1">
                <a:solidFill>
                  <a:srgbClr val="58585A"/>
                </a:solidFill>
                <a:latin typeface="Arial"/>
              </a:rPr>
              <a:t>misunderstandings</a:t>
            </a:r>
            <a:r>
              <a:rPr lang="fr-LU" sz="1213" b="1">
                <a:solidFill>
                  <a:srgbClr val="58585A"/>
                </a:solidFill>
                <a:latin typeface="Arial"/>
              </a:rPr>
              <a:t> </a:t>
            </a:r>
            <a:r>
              <a:rPr lang="fr-LU" sz="1213" b="1" err="1">
                <a:solidFill>
                  <a:srgbClr val="58585A"/>
                </a:solidFill>
                <a:latin typeface="Arial"/>
              </a:rPr>
              <a:t>between</a:t>
            </a:r>
            <a:r>
              <a:rPr lang="fr-LU" sz="1213" b="1">
                <a:solidFill>
                  <a:srgbClr val="58585A"/>
                </a:solidFill>
                <a:latin typeface="Arial"/>
              </a:rPr>
              <a:t> </a:t>
            </a:r>
            <a:r>
              <a:rPr lang="fr-LU" sz="1213" b="1" err="1">
                <a:solidFill>
                  <a:srgbClr val="58585A"/>
                </a:solidFill>
                <a:latin typeface="Arial"/>
              </a:rPr>
              <a:t>actors</a:t>
            </a:r>
            <a:endParaRPr lang="fr-LU" sz="1213" b="1">
              <a:solidFill>
                <a:srgbClr val="58585A"/>
              </a:solidFill>
              <a:latin typeface="Arial"/>
            </a:endParaRPr>
          </a:p>
          <a:p>
            <a:pPr marL="277246" indent="-277246" defTabSz="554492">
              <a:buFont typeface="Arial" panose="020B0604020202020204" pitchFamily="34" charset="0"/>
              <a:buChar char="•"/>
            </a:pPr>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Avoid</a:t>
            </a:r>
            <a:r>
              <a:rPr lang="fr-LU" sz="1213" b="1">
                <a:solidFill>
                  <a:srgbClr val="58585A"/>
                </a:solidFill>
                <a:latin typeface="Arial"/>
              </a:rPr>
              <a:t> </a:t>
            </a:r>
            <a:r>
              <a:rPr lang="fr-LU" sz="1213" b="1" err="1">
                <a:solidFill>
                  <a:srgbClr val="58585A"/>
                </a:solidFill>
                <a:latin typeface="Arial"/>
              </a:rPr>
              <a:t>additional</a:t>
            </a:r>
            <a:r>
              <a:rPr lang="fr-LU" sz="1213" b="1">
                <a:solidFill>
                  <a:srgbClr val="58585A"/>
                </a:solidFill>
                <a:latin typeface="Arial"/>
              </a:rPr>
              <a:t> </a:t>
            </a:r>
            <a:r>
              <a:rPr lang="fr-LU" sz="1213" b="1" err="1">
                <a:solidFill>
                  <a:srgbClr val="58585A"/>
                </a:solidFill>
                <a:latin typeface="Arial"/>
              </a:rPr>
              <a:t>delays</a:t>
            </a:r>
            <a:endParaRPr lang="fr-LU" sz="1213" b="1">
              <a:solidFill>
                <a:srgbClr val="58585A"/>
              </a:solidFill>
              <a:latin typeface="Arial"/>
            </a:endParaRPr>
          </a:p>
          <a:p>
            <a:pPr marL="277246" indent="-277246" defTabSz="554492">
              <a:buFont typeface="Arial" panose="020B0604020202020204" pitchFamily="34" charset="0"/>
              <a:buChar char="•"/>
            </a:pPr>
            <a:endParaRPr lang="fr-LU" sz="1213" b="1">
              <a:solidFill>
                <a:srgbClr val="58585A"/>
              </a:solidFill>
              <a:latin typeface="Arial"/>
            </a:endParaRPr>
          </a:p>
          <a:p>
            <a:pPr marL="277246" indent="-277246" defTabSz="554492">
              <a:buFont typeface="Arial" panose="020B0604020202020204" pitchFamily="34" charset="0"/>
              <a:buChar char="•"/>
            </a:pPr>
            <a:r>
              <a:rPr lang="fr-LU" sz="1213" b="1" err="1">
                <a:solidFill>
                  <a:srgbClr val="58585A"/>
                </a:solidFill>
                <a:latin typeface="Arial"/>
              </a:rPr>
              <a:t>Avoid</a:t>
            </a:r>
            <a:r>
              <a:rPr lang="fr-LU" sz="1213" b="1">
                <a:solidFill>
                  <a:srgbClr val="58585A"/>
                </a:solidFill>
                <a:latin typeface="Arial"/>
              </a:rPr>
              <a:t> </a:t>
            </a:r>
            <a:r>
              <a:rPr lang="fr-LU" sz="1213" b="1" err="1">
                <a:solidFill>
                  <a:srgbClr val="58585A"/>
                </a:solidFill>
                <a:latin typeface="Arial"/>
              </a:rPr>
              <a:t>unacceptable</a:t>
            </a:r>
            <a:r>
              <a:rPr lang="fr-LU" sz="1213" b="1">
                <a:solidFill>
                  <a:srgbClr val="58585A"/>
                </a:solidFill>
                <a:latin typeface="Arial"/>
              </a:rPr>
              <a:t> </a:t>
            </a:r>
            <a:r>
              <a:rPr lang="fr-LU" sz="1213" b="1" err="1">
                <a:solidFill>
                  <a:srgbClr val="58585A"/>
                </a:solidFill>
                <a:latin typeface="Arial"/>
              </a:rPr>
              <a:t>behaviors</a:t>
            </a:r>
            <a:endParaRPr lang="fr-LU" sz="1455" b="1">
              <a:solidFill>
                <a:srgbClr val="58585A"/>
              </a:solidFill>
              <a:latin typeface="Arial"/>
            </a:endParaRPr>
          </a:p>
          <a:p>
            <a:pPr defTabSz="554492"/>
            <a:r>
              <a:rPr lang="fr-LU" sz="1940" b="1">
                <a:solidFill>
                  <a:srgbClr val="58585A"/>
                </a:solidFill>
                <a:latin typeface="Arial"/>
              </a:rPr>
              <a:t> </a:t>
            </a:r>
          </a:p>
        </p:txBody>
      </p:sp>
      <p:sp>
        <p:nvSpPr>
          <p:cNvPr id="4" name="TextBox 3">
            <a:extLst>
              <a:ext uri="{FF2B5EF4-FFF2-40B4-BE49-F238E27FC236}">
                <a16:creationId xmlns:a16="http://schemas.microsoft.com/office/drawing/2014/main" id="{FDABF683-46C4-D6EF-96D4-E34F0459E190}"/>
              </a:ext>
            </a:extLst>
          </p:cNvPr>
          <p:cNvSpPr txBox="1"/>
          <p:nvPr/>
        </p:nvSpPr>
        <p:spPr>
          <a:xfrm>
            <a:off x="5423250" y="1764080"/>
            <a:ext cx="6504290" cy="3566297"/>
          </a:xfrm>
          <a:prstGeom prst="rect">
            <a:avLst/>
          </a:prstGeom>
          <a:noFill/>
        </p:spPr>
        <p:txBody>
          <a:bodyPr wrap="square">
            <a:spAutoFit/>
          </a:bodyPr>
          <a:lstStyle/>
          <a:p>
            <a:pPr defTabSz="554492">
              <a:lnSpc>
                <a:spcPct val="107000"/>
              </a:lnSpc>
              <a:spcAft>
                <a:spcPts val="485"/>
              </a:spcAft>
            </a:pPr>
            <a:r>
              <a:rPr lang="en-US" sz="3638" b="1">
                <a:solidFill>
                  <a:srgbClr val="58585A"/>
                </a:solidFill>
                <a:latin typeface="Calibri" panose="020F0502020204030204" pitchFamily="34" charset="0"/>
                <a:ea typeface="Calibri" panose="020F0502020204030204" pitchFamily="34" charset="0"/>
                <a:cs typeface="Calibri" panose="020F0502020204030204" pitchFamily="34" charset="0"/>
              </a:rPr>
              <a:t>Main actions to engage</a:t>
            </a:r>
          </a:p>
          <a:p>
            <a:pPr defTabSz="554492">
              <a:lnSpc>
                <a:spcPct val="107000"/>
              </a:lnSpc>
              <a:spcAft>
                <a:spcPts val="485"/>
              </a:spcAft>
            </a:pPr>
            <a:endParaRPr lang="en-US" sz="2183" b="1">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346558" indent="-346558" defTabSz="554492">
              <a:lnSpc>
                <a:spcPct val="107000"/>
              </a:lnSpc>
              <a:spcAft>
                <a:spcPts val="485"/>
              </a:spcAft>
              <a:buFont typeface="Wingdings" panose="05000000000000000000" pitchFamily="2" charset="2"/>
              <a:buChar char="ü"/>
            </a:pPr>
            <a:r>
              <a:rPr lang="en-US" sz="2183" b="1">
                <a:solidFill>
                  <a:srgbClr val="58585A"/>
                </a:solidFill>
                <a:latin typeface="Calibri" panose="020F0502020204030204" pitchFamily="34" charset="0"/>
                <a:ea typeface="Calibri" panose="020F0502020204030204" pitchFamily="34" charset="0"/>
                <a:cs typeface="Calibri" panose="020F0502020204030204" pitchFamily="34" charset="0"/>
              </a:rPr>
              <a:t>Regulate Workload</a:t>
            </a:r>
          </a:p>
          <a:p>
            <a:pPr marL="346558" indent="-346558" algn="just" defTabSz="554492">
              <a:lnSpc>
                <a:spcPct val="150000"/>
              </a:lnSpc>
              <a:buFont typeface="Wingdings" panose="05000000000000000000" pitchFamily="2" charset="2"/>
              <a:buChar char="ü"/>
              <a:tabLst>
                <a:tab pos="5622319" algn="l"/>
              </a:tabLst>
            </a:pPr>
            <a:r>
              <a:rPr lang="en-US" sz="2183" b="1">
                <a:solidFill>
                  <a:srgbClr val="58585A"/>
                </a:solidFill>
                <a:latin typeface="Calibri" panose="020F0502020204030204" pitchFamily="34" charset="0"/>
                <a:ea typeface="Times New Roman" panose="02020603050405020304" pitchFamily="18" charset="0"/>
                <a:cs typeface="Calibri" panose="020F0502020204030204" pitchFamily="34" charset="0"/>
              </a:rPr>
              <a:t>Evaluate Individual’s abilities</a:t>
            </a:r>
          </a:p>
          <a:p>
            <a:pPr marL="346558" indent="-346558" algn="just" defTabSz="554492">
              <a:lnSpc>
                <a:spcPct val="150000"/>
              </a:lnSpc>
              <a:buFont typeface="Wingdings" panose="05000000000000000000" pitchFamily="2" charset="2"/>
              <a:buChar char="ü"/>
              <a:tabLst>
                <a:tab pos="5622319" algn="l"/>
              </a:tabLst>
            </a:pPr>
            <a:r>
              <a:rPr lang="en-US" sz="2183" b="1">
                <a:solidFill>
                  <a:srgbClr val="58585A"/>
                </a:solidFill>
                <a:latin typeface="Calibri" panose="020F0502020204030204" pitchFamily="34" charset="0"/>
                <a:ea typeface="Times New Roman" panose="02020603050405020304" pitchFamily="18" charset="0"/>
              </a:rPr>
              <a:t>Establish Procedures, work-instructions and training</a:t>
            </a:r>
            <a:endParaRPr lang="fr-LU" sz="2183">
              <a:solidFill>
                <a:srgbClr val="58585A"/>
              </a:solidFill>
              <a:latin typeface="Times New Roman" panose="02020603050405020304" pitchFamily="18" charset="0"/>
              <a:ea typeface="Times New Roman" panose="02020603050405020304" pitchFamily="18" charset="0"/>
            </a:endParaRPr>
          </a:p>
          <a:p>
            <a:pPr marL="346558" indent="-346558" algn="just" defTabSz="554492">
              <a:lnSpc>
                <a:spcPct val="150000"/>
              </a:lnSpc>
              <a:buFont typeface="Wingdings" panose="05000000000000000000" pitchFamily="2" charset="2"/>
              <a:buChar char="ü"/>
              <a:tabLst>
                <a:tab pos="5622319" algn="l"/>
              </a:tabLst>
            </a:pPr>
            <a:r>
              <a:rPr lang="en-US" sz="2183" b="1">
                <a:solidFill>
                  <a:srgbClr val="58585A"/>
                </a:solidFill>
                <a:latin typeface="Calibri" panose="020F0502020204030204" pitchFamily="34" charset="0"/>
              </a:rPr>
              <a:t>Facility and environment improvement</a:t>
            </a:r>
          </a:p>
        </p:txBody>
      </p:sp>
      <p:sp>
        <p:nvSpPr>
          <p:cNvPr id="16" name="Arrow: Right 15">
            <a:extLst>
              <a:ext uri="{FF2B5EF4-FFF2-40B4-BE49-F238E27FC236}">
                <a16:creationId xmlns:a16="http://schemas.microsoft.com/office/drawing/2014/main" id="{00CD1FB4-7398-2F63-F7CB-1F37347006CA}"/>
              </a:ext>
            </a:extLst>
          </p:cNvPr>
          <p:cNvSpPr/>
          <p:nvPr/>
        </p:nvSpPr>
        <p:spPr>
          <a:xfrm>
            <a:off x="4269143" y="3274256"/>
            <a:ext cx="1038574" cy="106497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554492"/>
            <a:endParaRPr lang="fr-LU" sz="1092">
              <a:solidFill>
                <a:srgbClr val="FFFFFF"/>
              </a:solidFill>
              <a:latin typeface="Arial"/>
            </a:endParaRPr>
          </a:p>
        </p:txBody>
      </p:sp>
    </p:spTree>
    <p:extLst>
      <p:ext uri="{BB962C8B-B14F-4D97-AF65-F5344CB8AC3E}">
        <p14:creationId xmlns:p14="http://schemas.microsoft.com/office/powerpoint/2010/main" val="1555513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4" grpId="0"/>
      <p:bldP spid="1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5" name="Title 4">
            <a:extLst>
              <a:ext uri="{FF2B5EF4-FFF2-40B4-BE49-F238E27FC236}">
                <a16:creationId xmlns:a16="http://schemas.microsoft.com/office/drawing/2014/main" id="{6884CFA3-B97E-139B-D17D-81353D5FF326}"/>
              </a:ext>
            </a:extLst>
          </p:cNvPr>
          <p:cNvSpPr>
            <a:spLocks noGrp="1"/>
          </p:cNvSpPr>
          <p:nvPr>
            <p:ph type="title"/>
          </p:nvPr>
        </p:nvSpPr>
        <p:spPr/>
        <p:txBody>
          <a:bodyPr/>
          <a:lstStyle/>
          <a:p>
            <a:r>
              <a:rPr lang="fr-LU"/>
              <a:t>FATIGUE and WORKLOAD MANAGEMENT</a:t>
            </a:r>
          </a:p>
        </p:txBody>
      </p:sp>
      <p:sp>
        <p:nvSpPr>
          <p:cNvPr id="6" name="Text Placeholder 5">
            <a:extLst>
              <a:ext uri="{FF2B5EF4-FFF2-40B4-BE49-F238E27FC236}">
                <a16:creationId xmlns:a16="http://schemas.microsoft.com/office/drawing/2014/main" id="{50C5E9AF-6CEB-FAB8-712E-29729BE76C80}"/>
              </a:ext>
            </a:extLst>
          </p:cNvPr>
          <p:cNvSpPr>
            <a:spLocks noGrp="1"/>
          </p:cNvSpPr>
          <p:nvPr>
            <p:ph type="body" sz="quarter" idx="12"/>
          </p:nvPr>
        </p:nvSpPr>
        <p:spPr/>
        <p:txBody>
          <a:bodyPr/>
          <a:lstStyle/>
          <a:p>
            <a:r>
              <a:rPr lang="fr-LU"/>
              <a:t>How to manage </a:t>
            </a:r>
            <a:r>
              <a:rPr lang="fr-LU" err="1"/>
              <a:t>it</a:t>
            </a:r>
            <a:r>
              <a:rPr lang="fr-LU"/>
              <a:t> … </a:t>
            </a:r>
            <a:r>
              <a:rPr lang="fr-LU" err="1"/>
              <a:t>some</a:t>
            </a:r>
            <a:r>
              <a:rPr lang="fr-LU"/>
              <a:t> good </a:t>
            </a:r>
            <a:r>
              <a:rPr lang="fr-LU" err="1"/>
              <a:t>principles</a:t>
            </a:r>
            <a:endParaRPr lang="fr-LU"/>
          </a:p>
        </p:txBody>
      </p:sp>
      <p:sp>
        <p:nvSpPr>
          <p:cNvPr id="25" name="TextBox 24">
            <a:extLst>
              <a:ext uri="{FF2B5EF4-FFF2-40B4-BE49-F238E27FC236}">
                <a16:creationId xmlns:a16="http://schemas.microsoft.com/office/drawing/2014/main" id="{568F651C-9850-8946-B877-AAF64CDBEA51}"/>
              </a:ext>
            </a:extLst>
          </p:cNvPr>
          <p:cNvSpPr txBox="1"/>
          <p:nvPr/>
        </p:nvSpPr>
        <p:spPr>
          <a:xfrm>
            <a:off x="619820" y="1085759"/>
            <a:ext cx="5596766" cy="4696094"/>
          </a:xfrm>
          <a:prstGeom prst="rect">
            <a:avLst/>
          </a:prstGeom>
          <a:noFill/>
        </p:spPr>
        <p:txBody>
          <a:bodyPr wrap="square" rtlCol="0">
            <a:spAutoFit/>
          </a:bodyPr>
          <a:lstStyle/>
          <a:p>
            <a:pPr defTabSz="554492">
              <a:lnSpc>
                <a:spcPct val="107000"/>
              </a:lnSpc>
              <a:spcAft>
                <a:spcPts val="485"/>
              </a:spcAft>
            </a:pPr>
            <a:r>
              <a:rPr lang="en-US" sz="970" b="1">
                <a:solidFill>
                  <a:srgbClr val="58585A"/>
                </a:solidFill>
                <a:latin typeface="Calibri" panose="020F0502020204030204" pitchFamily="34" charset="0"/>
                <a:ea typeface="Calibri" panose="020F0502020204030204" pitchFamily="34" charset="0"/>
                <a:cs typeface="Calibri" panose="020F0502020204030204" pitchFamily="34" charset="0"/>
              </a:rPr>
              <a:t>Regulate Workload</a:t>
            </a:r>
          </a:p>
          <a:p>
            <a:pPr marL="207935" indent="-207935" defTabSz="554492">
              <a:lnSpc>
                <a:spcPct val="107000"/>
              </a:lnSpc>
              <a:spcAft>
                <a:spcPts val="485"/>
              </a:spcAft>
              <a:buFont typeface="Symbol" panose="05050102010706020507" pitchFamily="18" charset="2"/>
              <a:buChar char=""/>
            </a:pPr>
            <a:endParaRPr lang="en-US" sz="97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Calibri" panose="020F0502020204030204" pitchFamily="34" charset="0"/>
              </a:rPr>
              <a:t>Avoiding excessive working hours</a:t>
            </a:r>
            <a:endParaRPr lang="fr-LU" sz="97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Calibri" panose="020F0502020204030204" pitchFamily="34" charset="0"/>
              </a:rPr>
              <a:t>Taking into account reduced physical and mental capacity at night</a:t>
            </a:r>
            <a:endParaRPr lang="fr-LU" sz="97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Calibri" panose="020F0502020204030204" pitchFamily="34" charset="0"/>
              </a:rPr>
              <a:t>Taking into account individual circumstances</a:t>
            </a:r>
            <a:endParaRPr lang="fr-LU" sz="97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Calibri" panose="020F0502020204030204" pitchFamily="34" charset="0"/>
              </a:rPr>
              <a:t>Rotating shifts toward the biological day, i.e., rotate to later rather than earlier shifts</a:t>
            </a:r>
            <a:endParaRPr lang="fr-LU" sz="97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Calibri" panose="020F0502020204030204" pitchFamily="34" charset="0"/>
              </a:rPr>
              <a:t>Minimizing night shifts through creative scheduling</a:t>
            </a:r>
            <a:endParaRPr lang="fr-LU" sz="970">
              <a:solidFill>
                <a:srgbClr val="58585A"/>
              </a:solidFill>
              <a:latin typeface="Calibri" panose="020F0502020204030204" pitchFamily="34" charset="0"/>
              <a:ea typeface="Calibri" panose="020F0502020204030204" pitchFamily="34" charset="0"/>
              <a:cs typeface="Calibri" panose="020F0502020204030204" pitchFamily="34"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Calibri" panose="020F0502020204030204" pitchFamily="34" charset="0"/>
              </a:rPr>
              <a:t>Providing longer rest periods if night shifts</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Allocating more critical tasks during day shifts when staff are likely to be more alert</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Ensuring that appropriate checks are carried out after night shift work</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Breaking up lengthy repetitive tasks into smaller tasks, with breaks in between</a:t>
            </a:r>
            <a:endParaRPr lang="en-US" sz="970">
              <a:solidFill>
                <a:srgbClr val="58585A"/>
              </a:solidFill>
              <a:latin typeface="Calibri" panose="020F0502020204030204" pitchFamily="34" charset="0"/>
              <a:ea typeface="Calibri" panose="020F0502020204030204" pitchFamily="34" charset="0"/>
              <a:cs typeface="Calibri" panose="020F0502020204030204" pitchFamily="34" charset="0"/>
            </a:endParaRPr>
          </a:p>
          <a:p>
            <a:pPr defTabSz="554492">
              <a:tabLst>
                <a:tab pos="5622319" algn="l"/>
              </a:tabLst>
            </a:pPr>
            <a:r>
              <a:rPr lang="en-US" sz="970" b="1">
                <a:solidFill>
                  <a:srgbClr val="58585A"/>
                </a:solidFill>
                <a:latin typeface="Calibri" panose="020F0502020204030204" pitchFamily="34" charset="0"/>
                <a:ea typeface="Times New Roman" panose="02020603050405020304" pitchFamily="18" charset="0"/>
                <a:cs typeface="Calibri" panose="020F0502020204030204" pitchFamily="34" charset="0"/>
              </a:rPr>
              <a:t> </a:t>
            </a:r>
            <a:endParaRPr lang="fr-LU" sz="970">
              <a:solidFill>
                <a:srgbClr val="58585A"/>
              </a:solidFill>
              <a:latin typeface="Calibri" panose="020F0502020204030204" pitchFamily="34" charset="0"/>
              <a:ea typeface="Times New Roman" panose="02020603050405020304" pitchFamily="18" charset="0"/>
              <a:cs typeface="Calibri" panose="020F0502020204030204" pitchFamily="34" charset="0"/>
            </a:endParaRPr>
          </a:p>
          <a:p>
            <a:pPr algn="just" defTabSz="554492">
              <a:lnSpc>
                <a:spcPct val="150000"/>
              </a:lnSpc>
              <a:tabLst>
                <a:tab pos="5622319" algn="l"/>
              </a:tabLst>
            </a:pPr>
            <a:r>
              <a:rPr lang="en-US" sz="970" b="1">
                <a:solidFill>
                  <a:srgbClr val="58585A"/>
                </a:solidFill>
                <a:latin typeface="Calibri" panose="020F0502020204030204" pitchFamily="34" charset="0"/>
                <a:ea typeface="Times New Roman" panose="02020603050405020304" pitchFamily="18" charset="0"/>
                <a:cs typeface="Calibri" panose="020F0502020204030204" pitchFamily="34" charset="0"/>
              </a:rPr>
              <a:t>Evaluate Individual’s abilities</a:t>
            </a:r>
          </a:p>
          <a:p>
            <a:pPr algn="just" defTabSz="554492">
              <a:lnSpc>
                <a:spcPct val="150000"/>
              </a:lnSpc>
              <a:tabLst>
                <a:tab pos="5622319" algn="l"/>
              </a:tabLst>
            </a:pPr>
            <a:endPar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endParaRP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Physical fitness.</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Physiological characteristics such as visual acuity, </a:t>
            </a:r>
            <a:r>
              <a:rPr lang="en-US" sz="970" err="1">
                <a:solidFill>
                  <a:srgbClr val="58585A"/>
                </a:solidFill>
                <a:latin typeface="Calibri" panose="020F0502020204030204" pitchFamily="34" charset="0"/>
                <a:ea typeface="Times New Roman" panose="02020603050405020304" pitchFamily="18" charset="0"/>
                <a:cs typeface="Calibri" panose="020F0502020204030204" pitchFamily="34" charset="0"/>
              </a:rPr>
              <a:t>colour</a:t>
            </a: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 vision, hearing, etc.</a:t>
            </a:r>
            <a:endParaRPr lang="fr-LU" sz="970">
              <a:solidFill>
                <a:srgbClr val="58585A"/>
              </a:solidFill>
              <a:latin typeface="Calibri" panose="020F0502020204030204" pitchFamily="34" charset="0"/>
              <a:ea typeface="Times New Roman" panose="02020603050405020304" pitchFamily="18" charset="0"/>
              <a:cs typeface="Calibri" panose="020F0502020204030204" pitchFamily="34" charset="0"/>
            </a:endParaRP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Personality</a:t>
            </a:r>
            <a:endParaRPr lang="fr-LU" sz="970">
              <a:solidFill>
                <a:srgbClr val="58585A"/>
              </a:solidFill>
              <a:latin typeface="Calibri" panose="020F0502020204030204" pitchFamily="34" charset="0"/>
              <a:ea typeface="Times New Roman" panose="02020603050405020304" pitchFamily="18" charset="0"/>
              <a:cs typeface="Calibri" panose="020F0502020204030204" pitchFamily="34" charset="0"/>
            </a:endParaRP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Attitude, professional integrity, motivation.</a:t>
            </a:r>
            <a:endParaRPr lang="fr-LU" sz="970">
              <a:solidFill>
                <a:srgbClr val="58585A"/>
              </a:solidFill>
              <a:latin typeface="Calibri" panose="020F0502020204030204" pitchFamily="34" charset="0"/>
              <a:ea typeface="Times New Roman" panose="02020603050405020304" pitchFamily="18" charset="0"/>
              <a:cs typeface="Calibri" panose="020F0502020204030204" pitchFamily="34" charset="0"/>
            </a:endParaRP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Alertness, fatigue, tiredness, shiftwork. </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Distractibility, attention span, concentration, multi-tasking ability, situation awareness.</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cs typeface="Calibri" panose="020F0502020204030204" pitchFamily="34" charset="0"/>
              </a:rPr>
              <a:t>Information processing capability, memory, perception, intelligence. </a:t>
            </a:r>
          </a:p>
        </p:txBody>
      </p:sp>
      <p:sp>
        <p:nvSpPr>
          <p:cNvPr id="7" name="TextBox 6">
            <a:extLst>
              <a:ext uri="{FF2B5EF4-FFF2-40B4-BE49-F238E27FC236}">
                <a16:creationId xmlns:a16="http://schemas.microsoft.com/office/drawing/2014/main" id="{EB6EA979-1E0C-513B-72D5-55DD7B0DC798}"/>
              </a:ext>
            </a:extLst>
          </p:cNvPr>
          <p:cNvSpPr txBox="1"/>
          <p:nvPr/>
        </p:nvSpPr>
        <p:spPr>
          <a:xfrm>
            <a:off x="6453449" y="976535"/>
            <a:ext cx="5491057" cy="5615127"/>
          </a:xfrm>
          <a:prstGeom prst="rect">
            <a:avLst/>
          </a:prstGeom>
          <a:noFill/>
        </p:spPr>
        <p:txBody>
          <a:bodyPr wrap="square" rtlCol="0">
            <a:spAutoFit/>
          </a:bodyPr>
          <a:lstStyle/>
          <a:p>
            <a:pPr algn="just" defTabSz="554492">
              <a:lnSpc>
                <a:spcPct val="150000"/>
              </a:lnSpc>
              <a:tabLst>
                <a:tab pos="5622319" algn="l"/>
              </a:tabLst>
            </a:pPr>
            <a:r>
              <a:rPr lang="en-US" sz="970">
                <a:solidFill>
                  <a:srgbClr val="58585A"/>
                </a:solidFill>
                <a:latin typeface="Calibri" panose="020F0502020204030204" pitchFamily="34" charset="0"/>
                <a:ea typeface="Times New Roman" panose="02020603050405020304" pitchFamily="18" charset="0"/>
              </a:rPr>
              <a:t> </a:t>
            </a:r>
            <a:r>
              <a:rPr lang="en-US" sz="970" b="1">
                <a:solidFill>
                  <a:srgbClr val="58585A"/>
                </a:solidFill>
                <a:latin typeface="Calibri" panose="020F0502020204030204" pitchFamily="34" charset="0"/>
                <a:ea typeface="Times New Roman" panose="02020603050405020304" pitchFamily="18" charset="0"/>
              </a:rPr>
              <a:t>Procedures, work-instructions and training</a:t>
            </a:r>
            <a:endParaRPr lang="fr-LU" sz="970">
              <a:solidFill>
                <a:srgbClr val="58585A"/>
              </a:solidFill>
              <a:latin typeface="Times New Roman" panose="02020603050405020304" pitchFamily="18" charset="0"/>
              <a:ea typeface="Times New Roman" panose="02020603050405020304" pitchFamily="18" charset="0"/>
            </a:endParaRPr>
          </a:p>
          <a:p>
            <a:pPr algn="just" defTabSz="554492">
              <a:lnSpc>
                <a:spcPct val="150000"/>
              </a:lnSpc>
              <a:tabLst>
                <a:tab pos="5622319" algn="l"/>
              </a:tabLst>
            </a:pPr>
            <a:r>
              <a:rPr lang="fr-LU" sz="970" b="1">
                <a:solidFill>
                  <a:srgbClr val="58585A"/>
                </a:solidFill>
                <a:latin typeface="Calibri" panose="020F0502020204030204" pitchFamily="34" charset="0"/>
                <a:ea typeface="Times New Roman" panose="02020603050405020304" pitchFamily="18" charset="0"/>
              </a:rPr>
              <a:t> </a:t>
            </a:r>
            <a:endParaRPr lang="fr-LU" sz="970">
              <a:solidFill>
                <a:srgbClr val="58585A"/>
              </a:solidFill>
              <a:latin typeface="Times New Roman" panose="02020603050405020304" pitchFamily="18" charset="0"/>
              <a:ea typeface="Times New Roman" panose="02020603050405020304" pitchFamily="18" charset="0"/>
            </a:endParaRP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Procedure design and changes should involve maintenance personnel who have a good working knowledge of the tasks. </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All procedures, and changes to those procedures, should be verified and validated before use where practicable</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Ensure procedures are accurate, appropriate and usable, and reflect best practice</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Take account the level of expertise and experience of the user where appropriate provide an abbreviated version of the procedure</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Take account of the environment in which they are to be used</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Ensure that all key information is included without the procedure being unnecessarily complex</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Where appropriate, explain the reason for the procedure</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The order of tasks and steps should reflect best practice</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Ensure consistency in the design of procedures and use of terminology, abbreviations, references, etc. </a:t>
            </a:r>
          </a:p>
          <a:p>
            <a:pPr marL="207935" indent="-207935" algn="just" defTabSz="554492">
              <a:lnSpc>
                <a:spcPct val="150000"/>
              </a:lnSpc>
              <a:buFont typeface="Symbol" panose="05050102010706020507" pitchFamily="18" charset="2"/>
              <a:buChar char=""/>
              <a:tabLst>
                <a:tab pos="5622319" algn="l"/>
              </a:tabLst>
            </a:pPr>
            <a:r>
              <a:rPr lang="en-US" sz="970">
                <a:solidFill>
                  <a:srgbClr val="58585A"/>
                </a:solidFill>
                <a:latin typeface="Calibri" panose="020F0502020204030204" pitchFamily="34" charset="0"/>
                <a:ea typeface="Times New Roman" panose="02020603050405020304" pitchFamily="18" charset="0"/>
              </a:rPr>
              <a:t>Provide training on the use of technology to access and print procedures and maintenance data. Ensure that printing and copy quality is good, and that there are enough printers, copiers, etc.  </a:t>
            </a:r>
          </a:p>
          <a:p>
            <a:pPr algn="just" defTabSz="554492">
              <a:lnSpc>
                <a:spcPct val="150000"/>
              </a:lnSpc>
              <a:tabLst>
                <a:tab pos="5622319" algn="l"/>
              </a:tabLst>
            </a:pPr>
            <a:endParaRPr lang="en-US" sz="970" b="1">
              <a:solidFill>
                <a:srgbClr val="58585A"/>
              </a:solidFill>
              <a:latin typeface="Calibri" panose="020F0502020204030204" pitchFamily="34" charset="0"/>
            </a:endParaRPr>
          </a:p>
          <a:p>
            <a:pPr algn="just" defTabSz="554492">
              <a:lnSpc>
                <a:spcPct val="150000"/>
              </a:lnSpc>
              <a:tabLst>
                <a:tab pos="5622319" algn="l"/>
              </a:tabLst>
            </a:pPr>
            <a:r>
              <a:rPr lang="en-US" sz="970" b="1">
                <a:solidFill>
                  <a:srgbClr val="58585A"/>
                </a:solidFill>
                <a:latin typeface="Calibri" panose="020F0502020204030204" pitchFamily="34" charset="0"/>
              </a:rPr>
              <a:t>Facility and environment improvement</a:t>
            </a:r>
          </a:p>
          <a:p>
            <a:pPr algn="just" defTabSz="554492">
              <a:lnSpc>
                <a:spcPct val="150000"/>
              </a:lnSpc>
              <a:tabLst>
                <a:tab pos="5622319" algn="l"/>
              </a:tabLst>
            </a:pPr>
            <a:endParaRPr lang="en-US" sz="970" b="1">
              <a:solidFill>
                <a:srgbClr val="58585A"/>
              </a:solidFill>
              <a:latin typeface="Calibri" panose="020F0502020204030204" pitchFamily="34"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Times New Roman" panose="02020603050405020304" pitchFamily="18" charset="0"/>
              </a:rPr>
              <a:t>Temperature adequate for personnel to carry out work without undue discomfort</a:t>
            </a:r>
            <a:endParaRPr lang="fr-LU" sz="970">
              <a:solidFill>
                <a:srgbClr val="58585A"/>
              </a:solidFill>
              <a:latin typeface="Calibri" panose="020F0502020204030204" pitchFamily="34" charset="0"/>
              <a:ea typeface="Calibri" panose="020F0502020204030204" pitchFamily="34" charset="0"/>
              <a:cs typeface="Times New Roman" panose="02020603050405020304" pitchFamily="18"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Times New Roman" panose="02020603050405020304" pitchFamily="18" charset="0"/>
              </a:rPr>
              <a:t>Lighting adequate to ensure each inspection and maintenance task to be carried out</a:t>
            </a:r>
            <a:endParaRPr lang="fr-LU" sz="970">
              <a:solidFill>
                <a:srgbClr val="58585A"/>
              </a:solidFill>
              <a:latin typeface="Calibri" panose="020F0502020204030204" pitchFamily="34" charset="0"/>
              <a:ea typeface="Calibri" panose="020F0502020204030204" pitchFamily="34" charset="0"/>
              <a:cs typeface="Times New Roman" panose="02020603050405020304" pitchFamily="18"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Times New Roman" panose="02020603050405020304" pitchFamily="18" charset="0"/>
              </a:rPr>
              <a:t>Noise below distraction level, where possible; otherwise below distraction level with ear plugs.</a:t>
            </a:r>
            <a:endParaRPr lang="fr-LU" sz="970">
              <a:solidFill>
                <a:srgbClr val="58585A"/>
              </a:solidFill>
              <a:latin typeface="Calibri" panose="020F0502020204030204" pitchFamily="34" charset="0"/>
              <a:ea typeface="Calibri" panose="020F0502020204030204" pitchFamily="34" charset="0"/>
              <a:cs typeface="Times New Roman" panose="02020603050405020304" pitchFamily="18" charset="0"/>
            </a:endParaRPr>
          </a:p>
          <a:p>
            <a:pPr marL="207935" indent="-207935" defTabSz="554492">
              <a:lnSpc>
                <a:spcPct val="107000"/>
              </a:lnSpc>
              <a:spcAft>
                <a:spcPts val="485"/>
              </a:spcAft>
              <a:buFont typeface="Symbol" panose="05050102010706020507" pitchFamily="18" charset="2"/>
              <a:buChar char=""/>
            </a:pPr>
            <a:r>
              <a:rPr lang="en-US" sz="970">
                <a:solidFill>
                  <a:srgbClr val="58585A"/>
                </a:solidFill>
                <a:latin typeface="Calibri" panose="020F0502020204030204" pitchFamily="34" charset="0"/>
                <a:ea typeface="Calibri" panose="020F0502020204030204" pitchFamily="34" charset="0"/>
                <a:cs typeface="Times New Roman" panose="02020603050405020304" pitchFamily="18" charset="0"/>
              </a:rPr>
              <a:t>Equipment/ tools all equipment, tools and material should be made available when needed</a:t>
            </a:r>
            <a:endParaRPr lang="fr-LU" sz="1455" b="1">
              <a:solidFill>
                <a:srgbClr val="58585A"/>
              </a:solidFill>
              <a:latin typeface="Arial"/>
            </a:endParaRPr>
          </a:p>
          <a:p>
            <a:pPr defTabSz="554492"/>
            <a:endParaRPr lang="fr-LU" sz="970">
              <a:solidFill>
                <a:srgbClr val="58585A"/>
              </a:solidFill>
              <a:latin typeface="Arial"/>
            </a:endParaRPr>
          </a:p>
        </p:txBody>
      </p:sp>
    </p:spTree>
    <p:extLst>
      <p:ext uri="{BB962C8B-B14F-4D97-AF65-F5344CB8AC3E}">
        <p14:creationId xmlns:p14="http://schemas.microsoft.com/office/powerpoint/2010/main" val="3348092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826916838"/>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3</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68794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9424E2-3B60-B473-32FE-AB1E5F1CDE67}"/>
              </a:ext>
            </a:extLst>
          </p:cNvPr>
          <p:cNvSpPr>
            <a:spLocks noGrp="1"/>
          </p:cNvSpPr>
          <p:nvPr>
            <p:ph type="body" sz="quarter" idx="14"/>
          </p:nvPr>
        </p:nvSpPr>
        <p:spPr/>
        <p:txBody>
          <a:bodyPr/>
          <a:lstStyle/>
          <a:p>
            <a:endParaRPr lang="fr-LU"/>
          </a:p>
        </p:txBody>
      </p:sp>
      <p:sp>
        <p:nvSpPr>
          <p:cNvPr id="10" name="TextBox 9">
            <a:extLst>
              <a:ext uri="{FF2B5EF4-FFF2-40B4-BE49-F238E27FC236}">
                <a16:creationId xmlns:a16="http://schemas.microsoft.com/office/drawing/2014/main" id="{C3A6BE73-50D0-6419-EB19-856F29576015}"/>
              </a:ext>
            </a:extLst>
          </p:cNvPr>
          <p:cNvSpPr txBox="1"/>
          <p:nvPr/>
        </p:nvSpPr>
        <p:spPr>
          <a:xfrm>
            <a:off x="1611098" y="2129957"/>
            <a:ext cx="9946131" cy="3955442"/>
          </a:xfrm>
          <a:prstGeom prst="rect">
            <a:avLst/>
          </a:prstGeom>
          <a:noFill/>
        </p:spPr>
        <p:txBody>
          <a:bodyPr wrap="square" rtlCol="0">
            <a:spAutoFit/>
          </a:bodyPr>
          <a:lstStyle/>
          <a:p>
            <a:pPr algn="ctr" defTabSz="554492"/>
            <a:r>
              <a:rPr lang="fr-LU" sz="5336" b="1" err="1">
                <a:solidFill>
                  <a:srgbClr val="58585A"/>
                </a:solidFill>
                <a:latin typeface="Arial"/>
              </a:rPr>
              <a:t>Thanks</a:t>
            </a:r>
            <a:r>
              <a:rPr lang="fr-LU" sz="5336" b="1">
                <a:solidFill>
                  <a:srgbClr val="58585A"/>
                </a:solidFill>
                <a:latin typeface="Arial"/>
              </a:rPr>
              <a:t> for </a:t>
            </a:r>
            <a:r>
              <a:rPr lang="fr-LU" sz="5336" b="1" err="1">
                <a:solidFill>
                  <a:srgbClr val="58585A"/>
                </a:solidFill>
                <a:latin typeface="Arial"/>
              </a:rPr>
              <a:t>your</a:t>
            </a:r>
            <a:r>
              <a:rPr lang="fr-LU" sz="5336" b="1">
                <a:solidFill>
                  <a:srgbClr val="58585A"/>
                </a:solidFill>
                <a:latin typeface="Arial"/>
              </a:rPr>
              <a:t> attention !!!</a:t>
            </a:r>
          </a:p>
          <a:p>
            <a:pPr algn="ctr" defTabSz="554492"/>
            <a:endParaRPr lang="fr-LU" sz="4366" b="1">
              <a:solidFill>
                <a:srgbClr val="58585A"/>
              </a:solidFill>
              <a:latin typeface="Arial"/>
            </a:endParaRPr>
          </a:p>
          <a:p>
            <a:pPr algn="ctr" defTabSz="554492"/>
            <a:r>
              <a:rPr lang="fr-LU" sz="4002" b="1">
                <a:solidFill>
                  <a:srgbClr val="58585A"/>
                </a:solidFill>
                <a:latin typeface="Arial"/>
              </a:rPr>
              <a:t>Geoffrey TRESONTANI</a:t>
            </a:r>
          </a:p>
          <a:p>
            <a:pPr algn="ctr" defTabSz="554492"/>
            <a:r>
              <a:rPr lang="fr-LU" sz="2668" b="1">
                <a:solidFill>
                  <a:srgbClr val="58585A"/>
                </a:solidFill>
                <a:latin typeface="Arial"/>
              </a:rPr>
              <a:t>geoffrey.tresontani@cflcargo.lu</a:t>
            </a:r>
          </a:p>
          <a:p>
            <a:pPr algn="ctr" defTabSz="554492"/>
            <a:endParaRPr lang="fr-LU" sz="4366" b="1">
              <a:solidFill>
                <a:srgbClr val="58585A"/>
              </a:solidFill>
              <a:latin typeface="Arial"/>
            </a:endParaRPr>
          </a:p>
          <a:p>
            <a:pPr algn="ctr" defTabSz="554492"/>
            <a:endParaRPr lang="fr-LU" sz="4366" b="1">
              <a:solidFill>
                <a:srgbClr val="58585A"/>
              </a:solidFill>
              <a:latin typeface="Arial"/>
            </a:endParaRPr>
          </a:p>
        </p:txBody>
      </p:sp>
    </p:spTree>
    <p:extLst>
      <p:ext uri="{BB962C8B-B14F-4D97-AF65-F5344CB8AC3E}">
        <p14:creationId xmlns:p14="http://schemas.microsoft.com/office/powerpoint/2010/main" val="32818881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751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502273548"/>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4</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5065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normAutofit/>
          </a:bodyPr>
          <a:lstStyle/>
          <a:p>
            <a:r>
              <a:rPr lang="en-US" sz="1800" b="0" i="0">
                <a:effectLst/>
                <a:latin typeface="Calibri" panose="020F0502020204030204" pitchFamily="34" charset="0"/>
              </a:rPr>
              <a:t>Session 4 – How are workload and Fatigue managed? Railway undertakings’ perspective </a:t>
            </a:r>
            <a:endParaRPr lang="en-GB"/>
          </a:p>
        </p:txBody>
      </p:sp>
    </p:spTree>
    <p:extLst>
      <p:ext uri="{BB962C8B-B14F-4D97-AF65-F5344CB8AC3E}">
        <p14:creationId xmlns:p14="http://schemas.microsoft.com/office/powerpoint/2010/main" val="2862474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722677656"/>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6</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7941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draußen enthält.&#10;&#10;Automatisch generierte Beschreibung">
            <a:extLst>
              <a:ext uri="{FF2B5EF4-FFF2-40B4-BE49-F238E27FC236}">
                <a16:creationId xmlns:a16="http://schemas.microsoft.com/office/drawing/2014/main" id="{8C3B932E-910C-4C3F-B0F5-146DA7D8D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a:noFill/>
        </p:spPr>
      </p:pic>
      <p:sp>
        <p:nvSpPr>
          <p:cNvPr id="27" name="Text Placeholder 2">
            <a:extLst>
              <a:ext uri="{FF2B5EF4-FFF2-40B4-BE49-F238E27FC236}">
                <a16:creationId xmlns:a16="http://schemas.microsoft.com/office/drawing/2014/main" id="{51E00059-D0AA-74FF-602E-60B447D6E6DC}"/>
              </a:ext>
            </a:extLst>
          </p:cNvPr>
          <p:cNvSpPr>
            <a:spLocks noGrp="1"/>
          </p:cNvSpPr>
          <p:nvPr>
            <p:ph type="body" sz="quarter" idx="12"/>
          </p:nvPr>
        </p:nvSpPr>
        <p:spPr>
          <a:xfrm>
            <a:off x="579652" y="5467612"/>
            <a:ext cx="1220724" cy="121625"/>
          </a:xfrm>
        </p:spPr>
        <p:txBody>
          <a:bodyPr/>
          <a:lstStyle/>
          <a:p>
            <a:endParaRPr lang="en-US"/>
          </a:p>
        </p:txBody>
      </p:sp>
      <p:sp>
        <p:nvSpPr>
          <p:cNvPr id="14" name="Titel 1">
            <a:extLst>
              <a:ext uri="{FF2B5EF4-FFF2-40B4-BE49-F238E27FC236}">
                <a16:creationId xmlns:a16="http://schemas.microsoft.com/office/drawing/2014/main" id="{E17D1F84-CBF7-4C90-AFE3-4FDF8FAF20AD}"/>
              </a:ext>
            </a:extLst>
          </p:cNvPr>
          <p:cNvSpPr>
            <a:spLocks noGrp="1"/>
          </p:cNvSpPr>
          <p:nvPr>
            <p:ph type="ctrTitle"/>
          </p:nvPr>
        </p:nvSpPr>
        <p:spPr>
          <a:xfrm>
            <a:off x="579652" y="3609020"/>
            <a:ext cx="11240873" cy="756084"/>
          </a:xfrm>
        </p:spPr>
        <p:txBody>
          <a:bodyPr anchor="b">
            <a:normAutofit/>
          </a:bodyPr>
          <a:lstStyle/>
          <a:p>
            <a:pPr>
              <a:lnSpc>
                <a:spcPct val="90000"/>
              </a:lnSpc>
            </a:pPr>
            <a:r>
              <a:rPr lang="en-US" sz="4100"/>
              <a:t>Human Factors &amp; Workload management @ Regio</a:t>
            </a:r>
            <a:endParaRPr lang="de-DE" sz="4100"/>
          </a:p>
        </p:txBody>
      </p:sp>
      <p:sp>
        <p:nvSpPr>
          <p:cNvPr id="11" name="Untertitel 2">
            <a:extLst>
              <a:ext uri="{FF2B5EF4-FFF2-40B4-BE49-F238E27FC236}">
                <a16:creationId xmlns:a16="http://schemas.microsoft.com/office/drawing/2014/main" id="{49406823-5F78-4809-96CC-0CB828E9E22A}"/>
              </a:ext>
            </a:extLst>
          </p:cNvPr>
          <p:cNvSpPr>
            <a:spLocks noGrp="1"/>
          </p:cNvSpPr>
          <p:nvPr>
            <p:ph type="subTitle" idx="1"/>
          </p:nvPr>
        </p:nvSpPr>
        <p:spPr>
          <a:xfrm>
            <a:off x="579652" y="4392005"/>
            <a:ext cx="11240873" cy="683654"/>
          </a:xfrm>
        </p:spPr>
        <p:txBody>
          <a:bodyPr anchor="t">
            <a:normAutofit/>
          </a:bodyPr>
          <a:lstStyle/>
          <a:p>
            <a:pPr>
              <a:spcAft>
                <a:spcPts val="600"/>
              </a:spcAft>
            </a:pPr>
            <a:r>
              <a:rPr lang="en-US"/>
              <a:t>«Human and </a:t>
            </a:r>
            <a:r>
              <a:rPr lang="en-US" err="1"/>
              <a:t>Organisational</a:t>
            </a:r>
            <a:r>
              <a:rPr lang="en-US"/>
              <a:t> Factors conference 2022»</a:t>
            </a:r>
            <a:endParaRPr lang="de-DE"/>
          </a:p>
        </p:txBody>
      </p:sp>
      <p:sp>
        <p:nvSpPr>
          <p:cNvPr id="12" name="Textplatzhalter 3">
            <a:extLst>
              <a:ext uri="{FF2B5EF4-FFF2-40B4-BE49-F238E27FC236}">
                <a16:creationId xmlns:a16="http://schemas.microsoft.com/office/drawing/2014/main" id="{E6C703D4-2963-4CE3-96D6-E2B96F0FCD95}"/>
              </a:ext>
            </a:extLst>
          </p:cNvPr>
          <p:cNvSpPr>
            <a:spLocks noGrp="1"/>
          </p:cNvSpPr>
          <p:nvPr>
            <p:ph type="body" sz="quarter" idx="10"/>
          </p:nvPr>
        </p:nvSpPr>
        <p:spPr>
          <a:xfrm>
            <a:off x="579652" y="5922000"/>
            <a:ext cx="11240873" cy="380709"/>
          </a:xfrm>
        </p:spPr>
        <p:txBody>
          <a:bodyPr anchor="t">
            <a:normAutofit/>
          </a:bodyPr>
          <a:lstStyle/>
          <a:p>
            <a:pPr>
              <a:spcAft>
                <a:spcPts val="600"/>
              </a:spcAft>
            </a:pPr>
            <a:r>
              <a:rPr lang="de-DE"/>
              <a:t>07.12.2022 | </a:t>
            </a:r>
            <a:r>
              <a:rPr lang="de-DE" altLang="de-DE"/>
              <a:t>DB Regio AG R.RBE | Ole Kroczek</a:t>
            </a:r>
          </a:p>
          <a:p>
            <a:pPr>
              <a:spcAft>
                <a:spcPts val="600"/>
              </a:spcAft>
            </a:pPr>
            <a:endParaRPr lang="de-DE"/>
          </a:p>
        </p:txBody>
      </p:sp>
      <p:sp>
        <p:nvSpPr>
          <p:cNvPr id="29" name="Text Placeholder 6">
            <a:extLst>
              <a:ext uri="{FF2B5EF4-FFF2-40B4-BE49-F238E27FC236}">
                <a16:creationId xmlns:a16="http://schemas.microsoft.com/office/drawing/2014/main" id="{3E2F209C-2715-7566-2508-B4FA41122434}"/>
              </a:ext>
            </a:extLst>
          </p:cNvPr>
          <p:cNvSpPr>
            <a:spLocks noGrp="1"/>
          </p:cNvSpPr>
          <p:nvPr>
            <p:ph type="body" sz="quarter" idx="18"/>
          </p:nvPr>
        </p:nvSpPr>
        <p:spPr>
          <a:xfrm>
            <a:off x="579652" y="513294"/>
            <a:ext cx="1220400" cy="853200"/>
          </a:xfrm>
        </p:spPr>
        <p:txBody>
          <a:bodyPr/>
          <a:lstStyle/>
          <a:p>
            <a:endParaRPr lang="en-US"/>
          </a:p>
        </p:txBody>
      </p:sp>
    </p:spTree>
    <p:extLst>
      <p:ext uri="{BB962C8B-B14F-4D97-AF65-F5344CB8AC3E}">
        <p14:creationId xmlns:p14="http://schemas.microsoft.com/office/powerpoint/2010/main" val="24036238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Inhaltsplatzhalter 6">
            <a:extLst>
              <a:ext uri="{FF2B5EF4-FFF2-40B4-BE49-F238E27FC236}">
                <a16:creationId xmlns:a16="http://schemas.microsoft.com/office/drawing/2014/main" id="{D425CF12-C691-4F56-92DD-8A85E1F0C7C5}"/>
              </a:ext>
            </a:extLst>
          </p:cNvPr>
          <p:cNvSpPr txBox="1">
            <a:spLocks/>
          </p:cNvSpPr>
          <p:nvPr>
            <p:custDataLst>
              <p:tags r:id="rId1"/>
            </p:custDataLst>
          </p:nvPr>
        </p:nvSpPr>
        <p:spPr bwMode="gray">
          <a:xfrm>
            <a:off x="4603536" y="1048150"/>
            <a:ext cx="2887364" cy="1205905"/>
          </a:xfrm>
          <a:prstGeom prst="rect">
            <a:avLst/>
          </a:prstGeom>
          <a:noFill/>
          <a:ln w="22225">
            <a:solidFill>
              <a:srgbClr val="AFB4BB"/>
            </a:solidFill>
            <a:prstDash val="lgDash"/>
          </a:ln>
        </p:spPr>
        <p:txBody>
          <a:bodyPr wrap="square" lIns="71976" tIns="36000" rIns="0" bIns="17994" anchor="b">
            <a:noAutofit/>
          </a:bodyPr>
          <a:lstStyle>
            <a:defPPr>
              <a:defRPr lang="de-DE"/>
            </a:defPPr>
            <a:lvl1pPr indent="0">
              <a:spcBef>
                <a:spcPct val="20000"/>
              </a:spcBef>
              <a:buFontTx/>
              <a:buNone/>
              <a:defRPr sz="1400"/>
            </a:lvl1pPr>
            <a:lvl2pPr marL="177800" lvl="1" indent="-176213">
              <a:spcBef>
                <a:spcPct val="20000"/>
              </a:spcBef>
              <a:buClr>
                <a:srgbClr val="FF0000"/>
              </a:buClr>
              <a:buSzPct val="85000"/>
              <a:buFont typeface="Wingdings" pitchFamily="2" charset="2"/>
              <a:buChar char="n"/>
              <a:tabLst>
                <a:tab pos="2595563" algn="l"/>
              </a:tabLst>
              <a:defRPr sz="1400"/>
            </a:lvl2pPr>
            <a:lvl3pPr marL="360000" indent="-180000">
              <a:spcBef>
                <a:spcPts val="300"/>
              </a:spcBef>
              <a:buClr>
                <a:srgbClr val="FF0000"/>
              </a:buClr>
              <a:buFont typeface="DB Office" pitchFamily="34" charset="0"/>
              <a:buChar char="–"/>
              <a:defRPr sz="1400"/>
            </a:lvl3pPr>
            <a:lvl4pPr marL="540000" indent="-180000">
              <a:spcBef>
                <a:spcPts val="300"/>
              </a:spcBef>
              <a:buClr>
                <a:srgbClr val="FF0000"/>
              </a:buClr>
              <a:buSzPct val="100000"/>
              <a:buFont typeface="Wingdings" pitchFamily="2" charset="2"/>
              <a:buChar char=""/>
              <a:defRPr sz="1400"/>
            </a:lvl4pPr>
            <a:lvl5pPr marL="720000" indent="-180000">
              <a:spcBef>
                <a:spcPts val="300"/>
              </a:spcBef>
              <a:buClr>
                <a:srgbClr val="FF0000"/>
              </a:buClr>
              <a:buSzPct val="100000"/>
              <a:buFont typeface="Wingdings" pitchFamily="2" charset="2"/>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587" marR="0" lvl="1" indent="0" algn="r" defTabSz="914400" rtl="0" eaLnBrk="1" fontAlgn="auto" latinLnBrk="0" hangingPunct="1">
              <a:lnSpc>
                <a:spcPct val="100000"/>
              </a:lnSpc>
              <a:spcBef>
                <a:spcPct val="20000"/>
              </a:spcBef>
              <a:spcAft>
                <a:spcPts val="0"/>
              </a:spcAft>
              <a:buClr>
                <a:srgbClr val="FF0000"/>
              </a:buClr>
              <a:buSzPct val="85000"/>
              <a:buFont typeface="Wingdings" pitchFamily="2" charset="2"/>
              <a:buNone/>
              <a:tabLst>
                <a:tab pos="2595563" algn="l"/>
              </a:tabLst>
              <a:defRPr/>
            </a:pPr>
            <a:r>
              <a:rPr kumimoji="0" lang="en-US" sz="1400" b="1" i="1" u="none" strike="noStrike" kern="1200" cap="none" spc="0" normalizeH="0" baseline="0" noProof="0">
                <a:ln>
                  <a:noFill/>
                </a:ln>
                <a:solidFill>
                  <a:prstClr val="black"/>
                </a:solidFill>
                <a:effectLst/>
                <a:uLnTx/>
                <a:uFillTx/>
                <a:latin typeface="DB Sans"/>
                <a:ea typeface="+mn-ea"/>
                <a:cs typeface="+mn-cs"/>
              </a:rPr>
              <a:t>Operational rules</a:t>
            </a:r>
          </a:p>
          <a:p>
            <a:pPr marL="1587" marR="0" lvl="1" indent="0" algn="r" defTabSz="914400" rtl="0" eaLnBrk="1" fontAlgn="auto" latinLnBrk="0" hangingPunct="1">
              <a:lnSpc>
                <a:spcPct val="100000"/>
              </a:lnSpc>
              <a:spcBef>
                <a:spcPct val="20000"/>
              </a:spcBef>
              <a:spcAft>
                <a:spcPts val="0"/>
              </a:spcAft>
              <a:buClr>
                <a:srgbClr val="FF0000"/>
              </a:buClr>
              <a:buSzPct val="85000"/>
              <a:buFont typeface="Wingdings" pitchFamily="2" charset="2"/>
              <a:buNone/>
              <a:tabLst>
                <a:tab pos="2595563" algn="l"/>
              </a:tabLst>
              <a:defRPr/>
            </a:pPr>
            <a:r>
              <a:rPr kumimoji="0" lang="en-US" sz="1400" b="1" i="1" u="none" strike="noStrike" kern="1200" cap="none" spc="0" normalizeH="0" baseline="0" noProof="0">
                <a:ln>
                  <a:noFill/>
                </a:ln>
                <a:solidFill>
                  <a:prstClr val="black"/>
                </a:solidFill>
                <a:effectLst/>
                <a:uLnTx/>
                <a:uFillTx/>
                <a:latin typeface="DB Sans"/>
                <a:ea typeface="+mn-ea"/>
                <a:cs typeface="+mn-cs"/>
              </a:rPr>
              <a:t>Planning premises</a:t>
            </a:r>
          </a:p>
          <a:p>
            <a:pPr marL="1587" marR="0" lvl="1" indent="0" algn="r" defTabSz="914400" rtl="0" eaLnBrk="1" fontAlgn="auto" latinLnBrk="0" hangingPunct="1">
              <a:lnSpc>
                <a:spcPct val="100000"/>
              </a:lnSpc>
              <a:spcBef>
                <a:spcPct val="20000"/>
              </a:spcBef>
              <a:spcAft>
                <a:spcPts val="0"/>
              </a:spcAft>
              <a:buClr>
                <a:srgbClr val="FF0000"/>
              </a:buClr>
              <a:buSzPct val="85000"/>
              <a:buFont typeface="Wingdings" pitchFamily="2" charset="2"/>
              <a:buNone/>
              <a:tabLst>
                <a:tab pos="2595563" algn="l"/>
              </a:tabLst>
              <a:defRPr/>
            </a:pPr>
            <a:r>
              <a:rPr kumimoji="0" lang="en-US" sz="1400" b="1" i="1" u="none" strike="noStrike" kern="1200" cap="none" spc="0" normalizeH="0" baseline="0" noProof="0">
                <a:ln>
                  <a:noFill/>
                </a:ln>
                <a:solidFill>
                  <a:prstClr val="black"/>
                </a:solidFill>
                <a:effectLst/>
                <a:uLnTx/>
                <a:uFillTx/>
                <a:latin typeface="DB Sans"/>
                <a:ea typeface="+mn-ea"/>
                <a:cs typeface="+mn-cs"/>
              </a:rPr>
              <a:t>Work environment and equipment</a:t>
            </a:r>
            <a:endParaRPr kumimoji="0" lang="de-DE" sz="1400" b="1" i="1" u="none" strike="noStrike" kern="1200" cap="none" spc="0" normalizeH="0" baseline="0" noProof="0">
              <a:ln>
                <a:noFill/>
              </a:ln>
              <a:solidFill>
                <a:prstClr val="black"/>
              </a:solidFill>
              <a:effectLst/>
              <a:uLnTx/>
              <a:uFillTx/>
              <a:latin typeface="DB Sans"/>
              <a:ea typeface="+mn-ea"/>
              <a:cs typeface="+mn-cs"/>
            </a:endParaRPr>
          </a:p>
        </p:txBody>
      </p:sp>
      <p:pic>
        <p:nvPicPr>
          <p:cNvPr id="34" name="Grafik 20">
            <a:extLst>
              <a:ext uri="{FF2B5EF4-FFF2-40B4-BE49-F238E27FC236}">
                <a16:creationId xmlns:a16="http://schemas.microsoft.com/office/drawing/2014/main" id="{E0D8BDDA-40FA-4F8B-AD96-6FEE5B2F784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t="3452"/>
          <a:stretch>
            <a:fillRect/>
          </a:stretch>
        </p:blipFill>
        <p:spPr bwMode="auto">
          <a:xfrm>
            <a:off x="3407132" y="2326010"/>
            <a:ext cx="6048898" cy="3045717"/>
          </a:xfrm>
          <a:prstGeom prst="rect">
            <a:avLst/>
          </a:prstGeom>
          <a:noFill/>
          <a:extLst>
            <a:ext uri="{909E8E84-426E-40DD-AFC4-6F175D3DCCD1}">
              <a14:hiddenFill xmlns:a14="http://schemas.microsoft.com/office/drawing/2010/main">
                <a:solidFill>
                  <a:srgbClr val="FFFFFF"/>
                </a:solidFill>
              </a14:hiddenFill>
            </a:ext>
          </a:extLst>
        </p:spPr>
      </p:pic>
      <p:sp>
        <p:nvSpPr>
          <p:cNvPr id="82" name="Rechteck: diagonal liegende Ecken abgerundet 81">
            <a:extLst>
              <a:ext uri="{FF2B5EF4-FFF2-40B4-BE49-F238E27FC236}">
                <a16:creationId xmlns:a16="http://schemas.microsoft.com/office/drawing/2014/main" id="{A5FFC5A0-AD82-4412-B196-FB87F5881AB8}"/>
              </a:ext>
            </a:extLst>
          </p:cNvPr>
          <p:cNvSpPr/>
          <p:nvPr/>
        </p:nvSpPr>
        <p:spPr>
          <a:xfrm>
            <a:off x="9403214" y="1241201"/>
            <a:ext cx="2417311" cy="5048528"/>
          </a:xfrm>
          <a:prstGeom prst="round2DiagRect">
            <a:avLst>
              <a:gd name="adj1" fmla="val 16667"/>
              <a:gd name="adj2" fmla="val 480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p:txBody>
      </p:sp>
      <p:sp>
        <p:nvSpPr>
          <p:cNvPr id="127" name="Pfeil">
            <a:extLst>
              <a:ext uri="{FF2B5EF4-FFF2-40B4-BE49-F238E27FC236}">
                <a16:creationId xmlns:a16="http://schemas.microsoft.com/office/drawing/2014/main" id="{2BEDB9BE-2FDD-4121-BD79-46430FEBEEDD}"/>
              </a:ext>
            </a:extLst>
          </p:cNvPr>
          <p:cNvSpPr/>
          <p:nvPr>
            <p:custDataLst>
              <p:tags r:id="rId2"/>
            </p:custDataLst>
          </p:nvPr>
        </p:nvSpPr>
        <p:spPr>
          <a:xfrm>
            <a:off x="3776277" y="5407709"/>
            <a:ext cx="5505870" cy="910447"/>
          </a:xfrm>
          <a:prstGeom prst="chevron">
            <a:avLst>
              <a:gd name="adj" fmla="val 21571"/>
            </a:avLst>
          </a:prstGeom>
          <a:solidFill>
            <a:srgbClr val="92D05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
                <a:srgbClr val="EC0016"/>
              </a:buClr>
              <a:buSzTx/>
              <a:buFontTx/>
              <a:buNone/>
              <a:tabLst/>
              <a:defRPr/>
            </a:pPr>
            <a:r>
              <a:rPr kumimoji="0" lang="en-US" sz="1600" b="0" i="0" u="none" strike="noStrike" kern="1200" cap="none" spc="0" normalizeH="0" baseline="0" noProof="0">
                <a:ln>
                  <a:noFill/>
                </a:ln>
                <a:solidFill>
                  <a:prstClr val="white"/>
                </a:solidFill>
                <a:effectLst/>
                <a:uLnTx/>
                <a:uFillTx/>
                <a:latin typeface="DB Sans"/>
                <a:ea typeface="+mn-ea"/>
                <a:cs typeface="+mn-cs"/>
              </a:rPr>
              <a:t>Culture, confidence,                                            responsibility and establishing                                                risk knowledge herself / himself</a:t>
            </a:r>
            <a:endParaRPr kumimoji="0" lang="de-DE" sz="1600" b="0" i="0" u="none" strike="noStrike" kern="1200" cap="none" spc="0" normalizeH="0" baseline="0" noProof="0">
              <a:ln>
                <a:noFill/>
              </a:ln>
              <a:solidFill>
                <a:prstClr val="white"/>
              </a:solidFill>
              <a:effectLst/>
              <a:uLnTx/>
              <a:uFillTx/>
              <a:latin typeface="DB Sans"/>
              <a:ea typeface="+mn-ea"/>
              <a:cs typeface="+mn-cs"/>
            </a:endParaRPr>
          </a:p>
        </p:txBody>
      </p:sp>
      <p:sp>
        <p:nvSpPr>
          <p:cNvPr id="36" name="Rechteck: diagonal liegende Ecken abgerundet 35">
            <a:extLst>
              <a:ext uri="{FF2B5EF4-FFF2-40B4-BE49-F238E27FC236}">
                <a16:creationId xmlns:a16="http://schemas.microsoft.com/office/drawing/2014/main" id="{5EC088D5-5348-4F92-8E73-06042269A1AD}"/>
              </a:ext>
            </a:extLst>
          </p:cNvPr>
          <p:cNvSpPr/>
          <p:nvPr/>
        </p:nvSpPr>
        <p:spPr>
          <a:xfrm>
            <a:off x="252412" y="2951668"/>
            <a:ext cx="3455990" cy="3366489"/>
          </a:xfrm>
          <a:prstGeom prst="round2DiagRect">
            <a:avLst>
              <a:gd name="adj1" fmla="val 16667"/>
              <a:gd name="adj2" fmla="val 480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a:p>
            <a:pPr marL="0" marR="0" lvl="0" indent="0" algn="ctr" defTabSz="914400" rtl="0" eaLnBrk="1" fontAlgn="auto" latinLnBrk="0" hangingPunct="1">
              <a:lnSpc>
                <a:spcPct val="100000"/>
              </a:lnSpc>
              <a:spcBef>
                <a:spcPts val="0"/>
              </a:spcBef>
              <a:spcAft>
                <a:spcPts val="0"/>
              </a:spcAft>
              <a:buClr>
                <a:srgbClr val="EC0016"/>
              </a:buClr>
              <a:buSzTx/>
              <a:buFontTx/>
              <a:buNone/>
              <a:tabLst/>
              <a:defRPr/>
            </a:pPr>
            <a:endParaRPr kumimoji="0" lang="de-DE" sz="1600" b="0" i="0" u="none" strike="noStrike" kern="1200" cap="none" spc="0" normalizeH="0" baseline="0" noProof="0">
              <a:ln>
                <a:noFill/>
              </a:ln>
              <a:solidFill>
                <a:prstClr val="black"/>
              </a:solidFill>
              <a:effectLst/>
              <a:uLnTx/>
              <a:uFillTx/>
              <a:latin typeface="DB Sans"/>
              <a:ea typeface="+mn-ea"/>
              <a:cs typeface="+mn-cs"/>
            </a:endParaRPr>
          </a:p>
        </p:txBody>
      </p:sp>
      <p:sp>
        <p:nvSpPr>
          <p:cNvPr id="2" name="Titel 1">
            <a:extLst>
              <a:ext uri="{FF2B5EF4-FFF2-40B4-BE49-F238E27FC236}">
                <a16:creationId xmlns:a16="http://schemas.microsoft.com/office/drawing/2014/main" id="{2C10A34A-3CC0-421D-8033-7EB432270CC8}"/>
              </a:ext>
            </a:extLst>
          </p:cNvPr>
          <p:cNvSpPr>
            <a:spLocks noGrp="1"/>
          </p:cNvSpPr>
          <p:nvPr>
            <p:ph type="title"/>
          </p:nvPr>
        </p:nvSpPr>
        <p:spPr>
          <a:xfrm>
            <a:off x="371474" y="296696"/>
            <a:ext cx="10772776" cy="864052"/>
          </a:xfrm>
        </p:spPr>
        <p:txBody>
          <a:bodyPr/>
          <a:lstStyle/>
          <a:p>
            <a:r>
              <a:rPr lang="en-US"/>
              <a:t>Building the strong safety culture by way of an action plan at DB Regio</a:t>
            </a:r>
            <a:endParaRPr lang="de-DE"/>
          </a:p>
        </p:txBody>
      </p:sp>
      <p:sp>
        <p:nvSpPr>
          <p:cNvPr id="3" name="Fußzeilenplatzhalter 2">
            <a:extLst>
              <a:ext uri="{FF2B5EF4-FFF2-40B4-BE49-F238E27FC236}">
                <a16:creationId xmlns:a16="http://schemas.microsoft.com/office/drawing/2014/main" id="{63926B05-F4A1-435A-81F0-56871A114743}"/>
              </a:ext>
            </a:extLst>
          </p:cNvPr>
          <p:cNvSpPr>
            <a:spLocks noGrp="1"/>
          </p:cNvSpPr>
          <p:nvPr>
            <p:ph type="ftr" sz="quarter" idx="11"/>
          </p:nvPr>
        </p:nvSpPr>
        <p:spPr>
          <a:xfrm>
            <a:off x="371474" y="6538648"/>
            <a:ext cx="10602902" cy="216024"/>
          </a:xfrm>
        </p:spPr>
        <p:txBody>
          <a:bodyPr vert="horz"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DB Sans"/>
                <a:ea typeface="+mn-ea"/>
                <a:cs typeface="+mn-cs"/>
              </a:rPr>
              <a:t>© DB Regio AG | R.RBE Eisenbahnbetriebsleiter</a:t>
            </a:r>
          </a:p>
        </p:txBody>
      </p:sp>
      <p:sp>
        <p:nvSpPr>
          <p:cNvPr id="4" name="Foliennummernplatzhalter 3">
            <a:extLst>
              <a:ext uri="{FF2B5EF4-FFF2-40B4-BE49-F238E27FC236}">
                <a16:creationId xmlns:a16="http://schemas.microsoft.com/office/drawing/2014/main" id="{6921CDFC-D94E-4FAC-B696-2B0C3121EE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000" b="1" i="0" u="none" strike="noStrike" kern="1200" cap="none" spc="0" normalizeH="0" baseline="0" noProof="0">
              <a:ln>
                <a:noFill/>
              </a:ln>
              <a:solidFill>
                <a:prstClr val="black"/>
              </a:solidFill>
              <a:effectLst/>
              <a:uLnTx/>
              <a:uFillTx/>
              <a:latin typeface="DB Sans"/>
              <a:ea typeface="+mn-ea"/>
              <a:cs typeface="+mn-cs"/>
            </a:endParaRPr>
          </a:p>
        </p:txBody>
      </p:sp>
      <p:sp>
        <p:nvSpPr>
          <p:cNvPr id="50" name="Text Box 135">
            <a:extLst>
              <a:ext uri="{FF2B5EF4-FFF2-40B4-BE49-F238E27FC236}">
                <a16:creationId xmlns:a16="http://schemas.microsoft.com/office/drawing/2014/main" id="{654B83B6-CBCE-44AF-9281-2D8C94E5C08E}"/>
              </a:ext>
            </a:extLst>
          </p:cNvPr>
          <p:cNvSpPr txBox="1">
            <a:spLocks noChangeArrowheads="1"/>
          </p:cNvSpPr>
          <p:nvPr/>
        </p:nvSpPr>
        <p:spPr bwMode="auto">
          <a:xfrm>
            <a:off x="10077456" y="4803197"/>
            <a:ext cx="1524916" cy="525523"/>
          </a:xfrm>
          <a:prstGeom prst="rect">
            <a:avLst/>
          </a:prstGeom>
          <a:solidFill>
            <a:schemeClr val="bg1"/>
          </a:solidFill>
          <a:ln w="38100">
            <a:solidFill>
              <a:schemeClr val="bg1">
                <a:lumMod val="50000"/>
              </a:schemeClr>
            </a:solidFill>
            <a:miter lim="800000"/>
            <a:headEnd/>
            <a:tailEnd/>
          </a:ln>
          <a:effectLst/>
        </p:spPr>
        <p:txBody>
          <a:bodyPr lIns="180000" rIns="36000" anchor="ctr">
            <a:noAutofit/>
          </a:bodyPr>
          <a:lstStyle>
            <a:defPPr>
              <a:defRPr lang="de-DE"/>
            </a:defPPr>
            <a:lvl1pPr marR="0" lvl="0" indent="0" algn="ctr" defTabSz="913943" eaLnBrk="0" fontAlgn="base" hangingPunct="0">
              <a:lnSpc>
                <a:spcPct val="100000"/>
              </a:lnSpc>
              <a:spcBef>
                <a:spcPct val="0"/>
              </a:spcBef>
              <a:spcAft>
                <a:spcPct val="0"/>
              </a:spcAft>
              <a:buClrTx/>
              <a:buSzTx/>
              <a:buFontTx/>
              <a:buNone/>
              <a:tabLst/>
              <a:defRPr sz="1400" b="1">
                <a:solidFill>
                  <a:sysClr val="windowText" lastClr="000000"/>
                </a:solidFill>
                <a:latin typeface="DB Head Light" panose="020B0302050202020204" pitchFamily="34" charset="0"/>
                <a:cs typeface="Times New Roman" pitchFamily="18" charset="0"/>
              </a:defRPr>
            </a:lvl1pPr>
          </a:lstStyle>
          <a:p>
            <a:pPr marL="0" marR="0" lvl="0" indent="0" algn="ctr" defTabSz="913943"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a:ln>
                  <a:noFill/>
                </a:ln>
                <a:solidFill>
                  <a:srgbClr val="92D050"/>
                </a:solidFill>
                <a:effectLst/>
                <a:uLnTx/>
                <a:uFillTx/>
                <a:latin typeface="DB Head Light" panose="020B0302050202020204" pitchFamily="34" charset="0"/>
                <a:ea typeface="+mn-ea"/>
                <a:cs typeface="Times New Roman" pitchFamily="18" charset="0"/>
              </a:rPr>
              <a:t>Human organisational </a:t>
            </a:r>
            <a:r>
              <a:rPr kumimoji="0" lang="de-DE" sz="1100" b="1" i="0" u="none" strike="noStrike" kern="1200" cap="none" spc="0" normalizeH="0" baseline="0" noProof="0" err="1">
                <a:ln>
                  <a:noFill/>
                </a:ln>
                <a:solidFill>
                  <a:srgbClr val="92D050"/>
                </a:solidFill>
                <a:effectLst/>
                <a:uLnTx/>
                <a:uFillTx/>
                <a:latin typeface="DB Head Light" panose="020B0302050202020204" pitchFamily="34" charset="0"/>
                <a:ea typeface="+mn-ea"/>
                <a:cs typeface="Times New Roman" pitchFamily="18" charset="0"/>
              </a:rPr>
              <a:t>factors</a:t>
            </a:r>
            <a:endParaRPr kumimoji="0" lang="de-DE" sz="1100" b="1" i="0" u="none" strike="noStrike" kern="1200" cap="none" spc="0" normalizeH="0" baseline="0" noProof="0">
              <a:ln>
                <a:noFill/>
              </a:ln>
              <a:solidFill>
                <a:srgbClr val="92D050"/>
              </a:solidFill>
              <a:effectLst/>
              <a:uLnTx/>
              <a:uFillTx/>
              <a:latin typeface="DB Head Light" panose="020B0302050202020204" pitchFamily="34" charset="0"/>
              <a:ea typeface="+mn-ea"/>
              <a:cs typeface="Times New Roman" pitchFamily="18" charset="0"/>
            </a:endParaRPr>
          </a:p>
        </p:txBody>
      </p:sp>
      <p:sp>
        <p:nvSpPr>
          <p:cNvPr id="51" name="Ellipse 50">
            <a:extLst>
              <a:ext uri="{FF2B5EF4-FFF2-40B4-BE49-F238E27FC236}">
                <a16:creationId xmlns:a16="http://schemas.microsoft.com/office/drawing/2014/main" id="{D51E2A17-76F1-478A-881F-E8458941E8A3}"/>
              </a:ext>
            </a:extLst>
          </p:cNvPr>
          <p:cNvSpPr/>
          <p:nvPr>
            <p:custDataLst>
              <p:tags r:id="rId3"/>
            </p:custDataLst>
          </p:nvPr>
        </p:nvSpPr>
        <p:spPr bwMode="auto">
          <a:xfrm>
            <a:off x="9986077" y="4716431"/>
            <a:ext cx="288000" cy="288000"/>
          </a:xfrm>
          <a:prstGeom prst="ellipse">
            <a:avLst/>
          </a:prstGeom>
          <a:solidFill>
            <a:srgbClr val="FF0000"/>
          </a:solidFill>
          <a:ln w="19050" cap="flat" cmpd="sng" algn="ctr">
            <a:solidFill>
              <a:srgbClr val="FFFFFF"/>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DB Head Light" panose="020B0302050202020204" pitchFamily="34" charset="0"/>
                <a:ea typeface="+mn-ea"/>
                <a:cs typeface="+mn-cs"/>
              </a:rPr>
              <a:t>4</a:t>
            </a:r>
          </a:p>
        </p:txBody>
      </p:sp>
      <p:sp>
        <p:nvSpPr>
          <p:cNvPr id="57" name="Text Box 134">
            <a:extLst>
              <a:ext uri="{FF2B5EF4-FFF2-40B4-BE49-F238E27FC236}">
                <a16:creationId xmlns:a16="http://schemas.microsoft.com/office/drawing/2014/main" id="{ABE365CC-1B9E-46BB-A0BF-AE9908EC51F2}"/>
              </a:ext>
            </a:extLst>
          </p:cNvPr>
          <p:cNvSpPr txBox="1">
            <a:spLocks noChangeArrowheads="1"/>
          </p:cNvSpPr>
          <p:nvPr/>
        </p:nvSpPr>
        <p:spPr bwMode="auto">
          <a:xfrm>
            <a:off x="10086155" y="5491636"/>
            <a:ext cx="1524916" cy="525523"/>
          </a:xfrm>
          <a:prstGeom prst="rect">
            <a:avLst/>
          </a:prstGeom>
          <a:noFill/>
          <a:ln w="38100">
            <a:solidFill>
              <a:schemeClr val="bg1">
                <a:lumMod val="50000"/>
              </a:schemeClr>
            </a:solidFill>
            <a:miter lim="800000"/>
            <a:headEnd/>
            <a:tailEnd/>
          </a:ln>
          <a:effectLst/>
        </p:spPr>
        <p:txBody>
          <a:bodyPr lIns="180000" rIns="36000" anchor="ctr">
            <a:noAutofit/>
          </a:bodyPr>
          <a:lstStyle>
            <a:defPPr>
              <a:defRPr lang="de-DE"/>
            </a:defPPr>
            <a:lvl1pPr marR="0" lvl="0" indent="0" algn="ctr" defTabSz="913943" eaLnBrk="0" fontAlgn="base" hangingPunct="0">
              <a:lnSpc>
                <a:spcPct val="100000"/>
              </a:lnSpc>
              <a:spcBef>
                <a:spcPct val="0"/>
              </a:spcBef>
              <a:spcAft>
                <a:spcPct val="0"/>
              </a:spcAft>
              <a:buClrTx/>
              <a:buSzTx/>
              <a:buFontTx/>
              <a:buNone/>
              <a:tabLst/>
              <a:defRPr sz="1400" b="1">
                <a:solidFill>
                  <a:sysClr val="windowText" lastClr="000000"/>
                </a:solidFill>
                <a:latin typeface="DB Head Light" panose="020B0302050202020204" pitchFamily="34" charset="0"/>
                <a:cs typeface="Times New Roman" pitchFamily="18" charset="0"/>
              </a:defRPr>
            </a:lvl1pPr>
          </a:lstStyle>
          <a:p>
            <a:pPr marL="0" marR="0" lvl="0" indent="0" algn="ctr" defTabSz="913943"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a:ln>
                  <a:noFill/>
                </a:ln>
                <a:solidFill>
                  <a:sysClr val="windowText" lastClr="000000"/>
                </a:solidFill>
                <a:effectLst/>
                <a:uLnTx/>
                <a:uFillTx/>
                <a:latin typeface="DB Head Light" panose="020B0302050202020204" pitchFamily="34" charset="0"/>
                <a:ea typeface="+mn-ea"/>
                <a:cs typeface="Times New Roman" pitchFamily="18" charset="0"/>
              </a:rPr>
              <a:t>Further </a:t>
            </a:r>
            <a:r>
              <a:rPr kumimoji="0" lang="de-DE" sz="1100" b="1" i="0" u="none" strike="noStrike" kern="1200" cap="none" spc="0" normalizeH="0" baseline="0" noProof="0" err="1">
                <a:ln>
                  <a:noFill/>
                </a:ln>
                <a:solidFill>
                  <a:sysClr val="windowText" lastClr="000000"/>
                </a:solidFill>
                <a:effectLst/>
                <a:uLnTx/>
                <a:uFillTx/>
                <a:latin typeface="DB Head Light" panose="020B0302050202020204" pitchFamily="34" charset="0"/>
                <a:ea typeface="+mn-ea"/>
                <a:cs typeface="Times New Roman" pitchFamily="18" charset="0"/>
              </a:rPr>
              <a:t>development</a:t>
            </a:r>
            <a:r>
              <a:rPr kumimoji="0" lang="de-DE" sz="1100" b="1" i="0" u="none" strike="noStrike" kern="1200" cap="none" spc="0" normalizeH="0" baseline="0" noProof="0">
                <a:ln>
                  <a:noFill/>
                </a:ln>
                <a:solidFill>
                  <a:sysClr val="windowText" lastClr="000000"/>
                </a:solidFill>
                <a:effectLst/>
                <a:uLnTx/>
                <a:uFillTx/>
                <a:latin typeface="DB Head Light" panose="020B0302050202020204" pitchFamily="34" charset="0"/>
                <a:ea typeface="+mn-ea"/>
                <a:cs typeface="Times New Roman" pitchFamily="18" charset="0"/>
              </a:rPr>
              <a:t> </a:t>
            </a:r>
            <a:r>
              <a:rPr kumimoji="0" lang="de-DE" sz="1100" b="1" i="0" u="none" strike="noStrike" kern="1200" cap="none" spc="0" normalizeH="0" baseline="0" noProof="0" err="1">
                <a:ln>
                  <a:noFill/>
                </a:ln>
                <a:solidFill>
                  <a:sysClr val="windowText" lastClr="000000"/>
                </a:solidFill>
                <a:effectLst/>
                <a:uLnTx/>
                <a:uFillTx/>
                <a:latin typeface="DB Head Light" panose="020B0302050202020204" pitchFamily="34" charset="0"/>
                <a:ea typeface="+mn-ea"/>
                <a:cs typeface="Times New Roman" pitchFamily="18" charset="0"/>
              </a:rPr>
              <a:t>education</a:t>
            </a:r>
            <a:r>
              <a:rPr kumimoji="0" lang="de-DE" sz="1100" b="1" i="0" u="none" strike="noStrike" kern="1200" cap="none" spc="0" normalizeH="0" baseline="0" noProof="0">
                <a:ln>
                  <a:noFill/>
                </a:ln>
                <a:solidFill>
                  <a:sysClr val="windowText" lastClr="000000"/>
                </a:solidFill>
                <a:effectLst/>
                <a:uLnTx/>
                <a:uFillTx/>
                <a:latin typeface="DB Head Light" panose="020B0302050202020204" pitchFamily="34" charset="0"/>
                <a:ea typeface="+mn-ea"/>
                <a:cs typeface="Times New Roman" pitchFamily="18" charset="0"/>
              </a:rPr>
              <a:t> </a:t>
            </a:r>
            <a:r>
              <a:rPr kumimoji="0" lang="de-DE" sz="1100" b="1" i="0" u="none" strike="noStrike" kern="1200" cap="none" spc="0" normalizeH="0" baseline="0" noProof="0" err="1">
                <a:ln>
                  <a:noFill/>
                </a:ln>
                <a:solidFill>
                  <a:sysClr val="windowText" lastClr="000000"/>
                </a:solidFill>
                <a:effectLst/>
                <a:uLnTx/>
                <a:uFillTx/>
                <a:latin typeface="DB Head Light" panose="020B0302050202020204" pitchFamily="34" charset="0"/>
                <a:ea typeface="+mn-ea"/>
                <a:cs typeface="Times New Roman" pitchFamily="18" charset="0"/>
              </a:rPr>
              <a:t>formats</a:t>
            </a:r>
            <a:endParaRPr kumimoji="0" lang="de-DE" sz="1100" b="1" i="0" u="none" strike="noStrike" kern="1200" cap="none" spc="0" normalizeH="0" baseline="0" noProof="0">
              <a:ln>
                <a:noFill/>
              </a:ln>
              <a:solidFill>
                <a:sysClr val="windowText" lastClr="000000"/>
              </a:solidFill>
              <a:effectLst/>
              <a:uLnTx/>
              <a:uFillTx/>
              <a:latin typeface="DB Head Light" panose="020B0302050202020204" pitchFamily="34" charset="0"/>
              <a:ea typeface="+mn-ea"/>
              <a:cs typeface="Times New Roman" pitchFamily="18" charset="0"/>
            </a:endParaRPr>
          </a:p>
        </p:txBody>
      </p:sp>
      <p:sp>
        <p:nvSpPr>
          <p:cNvPr id="58" name="Ellipse 57">
            <a:extLst>
              <a:ext uri="{FF2B5EF4-FFF2-40B4-BE49-F238E27FC236}">
                <a16:creationId xmlns:a16="http://schemas.microsoft.com/office/drawing/2014/main" id="{A18A0B24-5DF1-4BCF-8F7A-EC0FCAEACCB6}"/>
              </a:ext>
            </a:extLst>
          </p:cNvPr>
          <p:cNvSpPr/>
          <p:nvPr>
            <p:custDataLst>
              <p:tags r:id="rId4"/>
            </p:custDataLst>
          </p:nvPr>
        </p:nvSpPr>
        <p:spPr bwMode="auto">
          <a:xfrm>
            <a:off x="9986077" y="5384669"/>
            <a:ext cx="296820" cy="288274"/>
          </a:xfrm>
          <a:prstGeom prst="ellipse">
            <a:avLst/>
          </a:prstGeom>
          <a:solidFill>
            <a:srgbClr val="FF0000"/>
          </a:solidFill>
          <a:ln w="19050" cap="flat" cmpd="sng" algn="ctr">
            <a:solidFill>
              <a:srgbClr val="FFFFFF"/>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DB Head Light" panose="020B0302050202020204" pitchFamily="34" charset="0"/>
                <a:ea typeface="+mn-ea"/>
                <a:cs typeface="+mn-cs"/>
              </a:rPr>
              <a:t>5</a:t>
            </a:r>
          </a:p>
        </p:txBody>
      </p:sp>
      <p:sp>
        <p:nvSpPr>
          <p:cNvPr id="59" name="Text Box 135">
            <a:extLst>
              <a:ext uri="{FF2B5EF4-FFF2-40B4-BE49-F238E27FC236}">
                <a16:creationId xmlns:a16="http://schemas.microsoft.com/office/drawing/2014/main" id="{E3E5D8C5-29BD-4AE7-B01B-19159A41677F}"/>
              </a:ext>
            </a:extLst>
          </p:cNvPr>
          <p:cNvSpPr txBox="1">
            <a:spLocks noChangeArrowheads="1"/>
          </p:cNvSpPr>
          <p:nvPr/>
        </p:nvSpPr>
        <p:spPr bwMode="auto">
          <a:xfrm>
            <a:off x="10077455" y="2760989"/>
            <a:ext cx="1505791" cy="531073"/>
          </a:xfrm>
          <a:prstGeom prst="rect">
            <a:avLst/>
          </a:prstGeom>
          <a:noFill/>
          <a:ln w="38100">
            <a:solidFill>
              <a:schemeClr val="bg1">
                <a:lumMod val="50000"/>
              </a:schemeClr>
            </a:solidFill>
            <a:miter lim="800000"/>
            <a:headEnd/>
            <a:tailEnd/>
          </a:ln>
          <a:effectLst/>
        </p:spPr>
        <p:txBody>
          <a:bodyPr lIns="180000" rIns="36000" anchor="ctr">
            <a:noAutofit/>
          </a:bodyPr>
          <a:lstStyle>
            <a:defPPr>
              <a:defRPr lang="de-DE"/>
            </a:defPPr>
            <a:lvl1pPr defTabSz="913943">
              <a:defRPr sz="1000" b="1">
                <a:solidFill>
                  <a:srgbClr val="FFFFFF"/>
                </a:solidFill>
                <a:cs typeface="Times New Roman" pitchFamily="18" charset="0"/>
              </a:defRPr>
            </a:lvl1pPr>
          </a:lstStyle>
          <a:p>
            <a:pPr marL="0" marR="0" lvl="0" indent="0" algn="ctr" defTabSz="913943"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err="1">
                <a:ln>
                  <a:noFill/>
                </a:ln>
                <a:solidFill>
                  <a:sysClr val="windowText" lastClr="000000"/>
                </a:solidFill>
                <a:effectLst/>
                <a:uLnTx/>
                <a:uFillTx/>
                <a:latin typeface="DB Head Light" panose="020B0302050202020204" pitchFamily="34" charset="0"/>
                <a:ea typeface="+mn-ea"/>
                <a:cs typeface="Times New Roman" pitchFamily="18" charset="0"/>
              </a:rPr>
              <a:t>Confidential</a:t>
            </a:r>
            <a:r>
              <a:rPr kumimoji="0" lang="de-DE" sz="1100" b="1" i="0" u="none" strike="noStrike" kern="1200" cap="none" spc="0" normalizeH="0" baseline="0" noProof="0">
                <a:ln>
                  <a:noFill/>
                </a:ln>
                <a:solidFill>
                  <a:sysClr val="windowText" lastClr="000000"/>
                </a:solidFill>
                <a:effectLst/>
                <a:uLnTx/>
                <a:uFillTx/>
                <a:latin typeface="DB Head Light" panose="020B0302050202020204" pitchFamily="34" charset="0"/>
                <a:ea typeface="+mn-ea"/>
                <a:cs typeface="Times New Roman" pitchFamily="18" charset="0"/>
              </a:rPr>
              <a:t> </a:t>
            </a:r>
            <a:r>
              <a:rPr kumimoji="0" lang="de-DE" sz="1100" b="1" i="0" u="none" strike="noStrike" kern="1200" cap="none" spc="0" normalizeH="0" baseline="0" noProof="0" err="1">
                <a:ln>
                  <a:noFill/>
                </a:ln>
                <a:solidFill>
                  <a:sysClr val="windowText" lastClr="000000"/>
                </a:solidFill>
                <a:effectLst/>
                <a:uLnTx/>
                <a:uFillTx/>
                <a:latin typeface="DB Head Light" panose="020B0302050202020204" pitchFamily="34" charset="0"/>
                <a:ea typeface="+mn-ea"/>
                <a:cs typeface="Times New Roman" pitchFamily="18" charset="0"/>
              </a:rPr>
              <a:t>reporting</a:t>
            </a:r>
            <a:r>
              <a:rPr kumimoji="0" lang="de-DE" sz="1100" b="1" i="0" u="none" strike="noStrike" kern="1200" cap="none" spc="0" normalizeH="0" baseline="0" noProof="0">
                <a:ln>
                  <a:noFill/>
                </a:ln>
                <a:solidFill>
                  <a:sysClr val="windowText" lastClr="000000"/>
                </a:solidFill>
                <a:effectLst/>
                <a:uLnTx/>
                <a:uFillTx/>
                <a:latin typeface="DB Head Light" panose="020B0302050202020204" pitchFamily="34" charset="0"/>
                <a:ea typeface="+mn-ea"/>
                <a:cs typeface="Times New Roman" pitchFamily="18" charset="0"/>
              </a:rPr>
              <a:t> </a:t>
            </a:r>
            <a:r>
              <a:rPr kumimoji="0" lang="de-DE" sz="1100" b="1" i="0" u="none" strike="noStrike" kern="1200" cap="none" spc="0" normalizeH="0" baseline="0" noProof="0" err="1">
                <a:ln>
                  <a:noFill/>
                </a:ln>
                <a:solidFill>
                  <a:sysClr val="windowText" lastClr="000000"/>
                </a:solidFill>
                <a:effectLst/>
                <a:uLnTx/>
                <a:uFillTx/>
                <a:latin typeface="DB Head Light" panose="020B0302050202020204" pitchFamily="34" charset="0"/>
                <a:ea typeface="+mn-ea"/>
                <a:cs typeface="Times New Roman" pitchFamily="18" charset="0"/>
              </a:rPr>
              <a:t>system</a:t>
            </a:r>
            <a:endParaRPr kumimoji="0" lang="de-DE" sz="1000" b="1" i="0" u="none" strike="noStrike" kern="1200" cap="none" spc="0" normalizeH="0" baseline="0" noProof="0">
              <a:ln>
                <a:noFill/>
              </a:ln>
              <a:solidFill>
                <a:sysClr val="windowText" lastClr="000000"/>
              </a:solidFill>
              <a:effectLst/>
              <a:uLnTx/>
              <a:uFillTx/>
              <a:latin typeface="DB Head Light" panose="020B0302050202020204" pitchFamily="34" charset="0"/>
              <a:ea typeface="+mn-ea"/>
              <a:cs typeface="Times New Roman" pitchFamily="18" charset="0"/>
            </a:endParaRPr>
          </a:p>
        </p:txBody>
      </p:sp>
      <p:sp>
        <p:nvSpPr>
          <p:cNvPr id="60" name="Ellipse 59">
            <a:extLst>
              <a:ext uri="{FF2B5EF4-FFF2-40B4-BE49-F238E27FC236}">
                <a16:creationId xmlns:a16="http://schemas.microsoft.com/office/drawing/2014/main" id="{C8F822CC-1323-4DBC-9623-61A1FF307F79}"/>
              </a:ext>
            </a:extLst>
          </p:cNvPr>
          <p:cNvSpPr/>
          <p:nvPr>
            <p:custDataLst>
              <p:tags r:id="rId5"/>
            </p:custDataLst>
          </p:nvPr>
        </p:nvSpPr>
        <p:spPr bwMode="auto">
          <a:xfrm>
            <a:off x="9964065" y="2663668"/>
            <a:ext cx="288000" cy="288000"/>
          </a:xfrm>
          <a:prstGeom prst="ellipse">
            <a:avLst/>
          </a:prstGeom>
          <a:solidFill>
            <a:srgbClr val="FF0000"/>
          </a:solidFill>
          <a:ln w="19050" cap="flat" cmpd="sng" algn="ctr">
            <a:solidFill>
              <a:srgbClr val="FFFFFF"/>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DB Head Light" panose="020B0302050202020204" pitchFamily="34" charset="0"/>
                <a:ea typeface="+mn-ea"/>
                <a:cs typeface="+mn-cs"/>
              </a:rPr>
              <a:t>1</a:t>
            </a:r>
          </a:p>
        </p:txBody>
      </p:sp>
      <p:sp>
        <p:nvSpPr>
          <p:cNvPr id="61" name="Text Box 134">
            <a:extLst>
              <a:ext uri="{FF2B5EF4-FFF2-40B4-BE49-F238E27FC236}">
                <a16:creationId xmlns:a16="http://schemas.microsoft.com/office/drawing/2014/main" id="{FA6D4729-74A1-4021-9DED-1D2D89359822}"/>
              </a:ext>
            </a:extLst>
          </p:cNvPr>
          <p:cNvSpPr txBox="1">
            <a:spLocks noChangeArrowheads="1"/>
          </p:cNvSpPr>
          <p:nvPr/>
        </p:nvSpPr>
        <p:spPr bwMode="auto">
          <a:xfrm>
            <a:off x="10094959" y="4130513"/>
            <a:ext cx="1507413" cy="526059"/>
          </a:xfrm>
          <a:prstGeom prst="rect">
            <a:avLst/>
          </a:prstGeom>
          <a:noFill/>
          <a:ln w="38100">
            <a:solidFill>
              <a:schemeClr val="bg1">
                <a:lumMod val="50000"/>
              </a:schemeClr>
            </a:solidFill>
            <a:miter lim="800000"/>
            <a:headEnd/>
            <a:tailEnd/>
          </a:ln>
          <a:effectLst/>
        </p:spPr>
        <p:txBody>
          <a:bodyPr lIns="180000" rIns="36000" anchor="ctr">
            <a:noAutofit/>
          </a:bodyPr>
          <a:lstStyle>
            <a:defPPr>
              <a:defRPr lang="de-DE"/>
            </a:defPPr>
            <a:lvl1pPr marR="0" lvl="0" indent="0" algn="ctr" defTabSz="913943" eaLnBrk="0" fontAlgn="base" hangingPunct="0">
              <a:lnSpc>
                <a:spcPct val="100000"/>
              </a:lnSpc>
              <a:spcBef>
                <a:spcPct val="0"/>
              </a:spcBef>
              <a:spcAft>
                <a:spcPct val="0"/>
              </a:spcAft>
              <a:buClrTx/>
              <a:buSzTx/>
              <a:buFontTx/>
              <a:buNone/>
              <a:tabLst/>
              <a:defRPr sz="1400" b="1">
                <a:solidFill>
                  <a:sysClr val="windowText" lastClr="000000"/>
                </a:solidFill>
                <a:latin typeface="DB Head Light" panose="020B0302050202020204" pitchFamily="34" charset="0"/>
                <a:cs typeface="Times New Roman" pitchFamily="18" charset="0"/>
              </a:defRPr>
            </a:lvl1pPr>
          </a:lstStyle>
          <a:p>
            <a:pPr marL="0" marR="0" lvl="0" indent="0" algn="ctr" defTabSz="913943"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DB Head Light" panose="020B0302050202020204" pitchFamily="34" charset="0"/>
                <a:ea typeface="+mn-ea"/>
                <a:cs typeface="Times New Roman" pitchFamily="18" charset="0"/>
              </a:rPr>
              <a:t>Strengthening safety, focus executive and dialog</a:t>
            </a:r>
            <a:endParaRPr kumimoji="0" lang="de-DE" sz="1000" b="1" i="0" u="none" strike="noStrike" kern="1200" cap="none" spc="0" normalizeH="0" baseline="0" noProof="0">
              <a:ln>
                <a:noFill/>
              </a:ln>
              <a:solidFill>
                <a:srgbClr val="000000"/>
              </a:solidFill>
              <a:effectLst/>
              <a:uLnTx/>
              <a:uFillTx/>
              <a:latin typeface="DB Head Light" panose="020B0302050202020204" pitchFamily="34" charset="0"/>
              <a:ea typeface="+mn-ea"/>
              <a:cs typeface="Times New Roman" pitchFamily="18" charset="0"/>
            </a:endParaRPr>
          </a:p>
        </p:txBody>
      </p:sp>
      <p:sp>
        <p:nvSpPr>
          <p:cNvPr id="62" name="Ellipse 61">
            <a:extLst>
              <a:ext uri="{FF2B5EF4-FFF2-40B4-BE49-F238E27FC236}">
                <a16:creationId xmlns:a16="http://schemas.microsoft.com/office/drawing/2014/main" id="{F4FA8D34-A48B-4807-ACF5-E662770338F5}"/>
              </a:ext>
            </a:extLst>
          </p:cNvPr>
          <p:cNvSpPr/>
          <p:nvPr>
            <p:custDataLst>
              <p:tags r:id="rId6"/>
            </p:custDataLst>
          </p:nvPr>
        </p:nvSpPr>
        <p:spPr bwMode="auto">
          <a:xfrm>
            <a:off x="9978652" y="4031597"/>
            <a:ext cx="288000" cy="288000"/>
          </a:xfrm>
          <a:prstGeom prst="ellipse">
            <a:avLst/>
          </a:prstGeom>
          <a:solidFill>
            <a:srgbClr val="FF0000"/>
          </a:solidFill>
          <a:ln w="19050" cap="flat" cmpd="sng" algn="ctr">
            <a:solidFill>
              <a:srgbClr val="FFFFFF"/>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DB Head Light" panose="020B0302050202020204" pitchFamily="34" charset="0"/>
                <a:ea typeface="+mn-ea"/>
                <a:cs typeface="+mn-cs"/>
              </a:rPr>
              <a:t>3</a:t>
            </a:r>
          </a:p>
        </p:txBody>
      </p:sp>
      <p:sp>
        <p:nvSpPr>
          <p:cNvPr id="63" name="Text Box 136">
            <a:extLst>
              <a:ext uri="{FF2B5EF4-FFF2-40B4-BE49-F238E27FC236}">
                <a16:creationId xmlns:a16="http://schemas.microsoft.com/office/drawing/2014/main" id="{47665347-728E-43F6-A312-5CDFDF568DAF}"/>
              </a:ext>
            </a:extLst>
          </p:cNvPr>
          <p:cNvSpPr txBox="1">
            <a:spLocks noChangeArrowheads="1"/>
          </p:cNvSpPr>
          <p:nvPr/>
        </p:nvSpPr>
        <p:spPr bwMode="auto">
          <a:xfrm>
            <a:off x="10096581" y="3445751"/>
            <a:ext cx="1505791" cy="531073"/>
          </a:xfrm>
          <a:prstGeom prst="rect">
            <a:avLst/>
          </a:prstGeom>
          <a:solidFill>
            <a:schemeClr val="bg1"/>
          </a:solidFill>
          <a:ln w="38100">
            <a:solidFill>
              <a:schemeClr val="bg1">
                <a:lumMod val="50000"/>
              </a:schemeClr>
            </a:solidFill>
            <a:miter lim="800000"/>
            <a:headEnd/>
            <a:tailEnd/>
          </a:ln>
          <a:effectLst/>
        </p:spPr>
        <p:txBody>
          <a:bodyPr lIns="180000" rIns="36000" anchor="ctr">
            <a:noAutofit/>
          </a:bodyPr>
          <a:lstStyle>
            <a:defPPr>
              <a:defRPr lang="de-DE"/>
            </a:defPPr>
            <a:lvl1pPr marR="0" lvl="0" indent="0" algn="ctr" defTabSz="913943" eaLnBrk="0" fontAlgn="base" hangingPunct="0">
              <a:lnSpc>
                <a:spcPct val="100000"/>
              </a:lnSpc>
              <a:spcBef>
                <a:spcPct val="0"/>
              </a:spcBef>
              <a:spcAft>
                <a:spcPct val="0"/>
              </a:spcAft>
              <a:buClrTx/>
              <a:buSzTx/>
              <a:buFontTx/>
              <a:buNone/>
              <a:tabLst/>
              <a:defRPr sz="1400" b="1">
                <a:solidFill>
                  <a:sysClr val="windowText" lastClr="000000"/>
                </a:solidFill>
                <a:latin typeface="DB Head Light" panose="020B0302050202020204" pitchFamily="34" charset="0"/>
                <a:cs typeface="Times New Roman" pitchFamily="18" charset="0"/>
              </a:defRPr>
            </a:lvl1pPr>
          </a:lstStyle>
          <a:p>
            <a:pPr marL="0" marR="0" lvl="0" indent="0" algn="ctr" defTabSz="913943"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92D050"/>
                </a:solidFill>
                <a:effectLst/>
                <a:uLnTx/>
                <a:uFillTx/>
                <a:latin typeface="DB Head Light" panose="020B0302050202020204" pitchFamily="34" charset="0"/>
                <a:ea typeface="+mn-ea"/>
                <a:cs typeface="Times New Roman" pitchFamily="18" charset="0"/>
              </a:rPr>
              <a:t>Fairness guide and fault culture</a:t>
            </a:r>
            <a:endParaRPr kumimoji="0" lang="de-DE" sz="1100" b="1" i="0" u="none" strike="noStrike" kern="1200" cap="none" spc="0" normalizeH="0" baseline="0" noProof="0">
              <a:ln>
                <a:noFill/>
              </a:ln>
              <a:solidFill>
                <a:srgbClr val="92D050"/>
              </a:solidFill>
              <a:effectLst/>
              <a:uLnTx/>
              <a:uFillTx/>
              <a:latin typeface="DB Head Light" panose="020B0302050202020204" pitchFamily="34" charset="0"/>
              <a:ea typeface="+mn-ea"/>
              <a:cs typeface="Times New Roman" pitchFamily="18" charset="0"/>
            </a:endParaRPr>
          </a:p>
        </p:txBody>
      </p:sp>
      <p:sp>
        <p:nvSpPr>
          <p:cNvPr id="64" name="Ellipse 63">
            <a:extLst>
              <a:ext uri="{FF2B5EF4-FFF2-40B4-BE49-F238E27FC236}">
                <a16:creationId xmlns:a16="http://schemas.microsoft.com/office/drawing/2014/main" id="{0E87D36D-A168-498F-AC19-3AC3CB501E06}"/>
              </a:ext>
            </a:extLst>
          </p:cNvPr>
          <p:cNvSpPr/>
          <p:nvPr>
            <p:custDataLst>
              <p:tags r:id="rId7"/>
            </p:custDataLst>
          </p:nvPr>
        </p:nvSpPr>
        <p:spPr bwMode="auto">
          <a:xfrm>
            <a:off x="9978652" y="3356701"/>
            <a:ext cx="304173" cy="288000"/>
          </a:xfrm>
          <a:prstGeom prst="ellipse">
            <a:avLst/>
          </a:prstGeom>
          <a:solidFill>
            <a:srgbClr val="FF0000"/>
          </a:solidFill>
          <a:ln w="19050" cap="flat" cmpd="sng" algn="ctr">
            <a:solidFill>
              <a:srgbClr val="FFFFFF"/>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a:ln>
                  <a:noFill/>
                </a:ln>
                <a:solidFill>
                  <a:srgbClr val="FFFFFF"/>
                </a:solidFill>
                <a:effectLst/>
                <a:uLnTx/>
                <a:uFillTx/>
                <a:latin typeface="DB Head Light" panose="020B0302050202020204" pitchFamily="34" charset="0"/>
                <a:ea typeface="+mn-ea"/>
                <a:cs typeface="+mn-cs"/>
              </a:rPr>
              <a:t>2</a:t>
            </a:r>
          </a:p>
        </p:txBody>
      </p:sp>
      <p:pic>
        <p:nvPicPr>
          <p:cNvPr id="72" name="Grafik 71">
            <a:extLst>
              <a:ext uri="{FF2B5EF4-FFF2-40B4-BE49-F238E27FC236}">
                <a16:creationId xmlns:a16="http://schemas.microsoft.com/office/drawing/2014/main" id="{D338DC79-8C5E-47CC-BD9D-A89B5E78C63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72158" y="1046756"/>
            <a:ext cx="2245077" cy="1529254"/>
          </a:xfrm>
          <a:prstGeom prst="rect">
            <a:avLst/>
          </a:prstGeom>
          <a:noFill/>
          <a:ln w="12700" algn="ctr">
            <a:solidFill>
              <a:schemeClr val="bg2"/>
            </a:solidFill>
            <a:miter lim="800000"/>
            <a:headEnd/>
            <a:tailEnd/>
          </a:ln>
          <a:effectLst>
            <a:outerShdw dist="107763" dir="2700000" algn="ctr" rotWithShape="0">
              <a:schemeClr val="bg2">
                <a:alpha val="50000"/>
              </a:schemeClr>
            </a:outerShdw>
          </a:effectLst>
        </p:spPr>
      </p:pic>
      <p:pic>
        <p:nvPicPr>
          <p:cNvPr id="99" name="Grafik 98">
            <a:extLst>
              <a:ext uri="{FF2B5EF4-FFF2-40B4-BE49-F238E27FC236}">
                <a16:creationId xmlns:a16="http://schemas.microsoft.com/office/drawing/2014/main" id="{BC9A9966-8C50-4783-9B31-C9CE89ED4CEF}"/>
              </a:ext>
            </a:extLst>
          </p:cNvPr>
          <p:cNvPicPr>
            <a:picLocks noChangeAspect="1"/>
          </p:cNvPicPr>
          <p:nvPr>
            <p:custDataLst>
              <p:tags r:id="rId8"/>
            </p:custDataLst>
          </p:nvPr>
        </p:nvPicPr>
        <p:blipFill>
          <a:blip r:embed="rId23" cstate="hqprint">
            <a:extLst>
              <a:ext uri="{28A0092B-C50C-407E-A947-70E740481C1C}">
                <a14:useLocalDpi xmlns:a14="http://schemas.microsoft.com/office/drawing/2010/main"/>
              </a:ext>
            </a:extLst>
          </a:blip>
          <a:stretch>
            <a:fillRect/>
          </a:stretch>
        </p:blipFill>
        <p:spPr>
          <a:xfrm>
            <a:off x="2484290" y="3156535"/>
            <a:ext cx="754905" cy="1116657"/>
          </a:xfrm>
          <a:prstGeom prst="rect">
            <a:avLst/>
          </a:prstGeom>
          <a:noFill/>
          <a:ln w="12700" algn="ctr">
            <a:solidFill>
              <a:schemeClr val="bg2"/>
            </a:solidFill>
            <a:miter lim="800000"/>
            <a:headEnd/>
            <a:tailEnd/>
          </a:ln>
          <a:effectLst>
            <a:outerShdw dist="107763" dir="2700000" algn="ctr" rotWithShape="0">
              <a:schemeClr val="bg2">
                <a:alpha val="50000"/>
              </a:schemeClr>
            </a:outerShdw>
          </a:effectLst>
        </p:spPr>
      </p:pic>
      <p:pic>
        <p:nvPicPr>
          <p:cNvPr id="100" name="Grafik 99">
            <a:extLst>
              <a:ext uri="{FF2B5EF4-FFF2-40B4-BE49-F238E27FC236}">
                <a16:creationId xmlns:a16="http://schemas.microsoft.com/office/drawing/2014/main" id="{3753F95E-EBA7-414D-9E75-C1E3110D931C}"/>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1593831" y="3156535"/>
            <a:ext cx="789956" cy="1116657"/>
          </a:xfrm>
          <a:prstGeom prst="rect">
            <a:avLst/>
          </a:prstGeom>
          <a:noFill/>
          <a:ln w="12700" algn="ctr">
            <a:solidFill>
              <a:schemeClr val="bg2"/>
            </a:solidFill>
            <a:miter lim="800000"/>
            <a:headEnd/>
            <a:tailEnd/>
          </a:ln>
          <a:effectLst>
            <a:outerShdw dist="107763" dir="2700000" algn="ctr" rotWithShape="0">
              <a:schemeClr val="bg2">
                <a:alpha val="50000"/>
              </a:schemeClr>
            </a:outerShdw>
          </a:effectLst>
        </p:spPr>
      </p:pic>
      <p:sp>
        <p:nvSpPr>
          <p:cNvPr id="106" name="Inhaltsplatzhalter 5">
            <a:extLst>
              <a:ext uri="{FF2B5EF4-FFF2-40B4-BE49-F238E27FC236}">
                <a16:creationId xmlns:a16="http://schemas.microsoft.com/office/drawing/2014/main" id="{268A64F7-DF3D-44FE-961D-1AF37FCA7831}"/>
              </a:ext>
            </a:extLst>
          </p:cNvPr>
          <p:cNvSpPr txBox="1">
            <a:spLocks/>
          </p:cNvSpPr>
          <p:nvPr>
            <p:custDataLst>
              <p:tags r:id="rId9"/>
            </p:custDataLst>
          </p:nvPr>
        </p:nvSpPr>
        <p:spPr bwMode="auto">
          <a:xfrm>
            <a:off x="281580" y="4613204"/>
            <a:ext cx="3358222" cy="167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rgbClr val="FF0000"/>
              </a:buClr>
              <a:buSzPct val="85000"/>
              <a:buFont typeface="Wingdings" pitchFamily="2" charset="2"/>
              <a:buChar char="n"/>
              <a:defRPr sz="160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rgbClr val="FF0000"/>
              </a:buClr>
              <a:buFont typeface="Wingdings" pitchFamily="2" charset="2"/>
              <a:buChar char="§"/>
              <a:defRPr sz="160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5pPr>
            <a:lvl6pPr marL="1185863" indent="-182563" algn="l" rtl="0" eaLnBrk="1" fontAlgn="base" hangingPunct="1">
              <a:spcBef>
                <a:spcPct val="0"/>
              </a:spcBef>
              <a:spcAft>
                <a:spcPct val="0"/>
              </a:spcAft>
              <a:buClr>
                <a:srgbClr val="FF0000"/>
              </a:buClr>
              <a:buChar char="–"/>
              <a:defRPr sz="1600">
                <a:solidFill>
                  <a:schemeClr val="tx1"/>
                </a:solidFill>
                <a:latin typeface="+mn-lt"/>
              </a:defRPr>
            </a:lvl6pPr>
            <a:lvl7pPr marL="1643063" indent="-182563" algn="l" rtl="0" eaLnBrk="1" fontAlgn="base" hangingPunct="1">
              <a:spcBef>
                <a:spcPct val="0"/>
              </a:spcBef>
              <a:spcAft>
                <a:spcPct val="0"/>
              </a:spcAft>
              <a:buClr>
                <a:srgbClr val="FF0000"/>
              </a:buClr>
              <a:buChar char="–"/>
              <a:defRPr sz="1600">
                <a:solidFill>
                  <a:schemeClr val="tx1"/>
                </a:solidFill>
                <a:latin typeface="+mn-lt"/>
              </a:defRPr>
            </a:lvl7pPr>
            <a:lvl8pPr marL="2100263" indent="-182563" algn="l" rtl="0" eaLnBrk="1" fontAlgn="base" hangingPunct="1">
              <a:spcBef>
                <a:spcPct val="0"/>
              </a:spcBef>
              <a:spcAft>
                <a:spcPct val="0"/>
              </a:spcAft>
              <a:buClr>
                <a:srgbClr val="FF0000"/>
              </a:buClr>
              <a:buChar char="–"/>
              <a:defRPr sz="1600">
                <a:solidFill>
                  <a:schemeClr val="tx1"/>
                </a:solidFill>
                <a:latin typeface="+mn-lt"/>
              </a:defRPr>
            </a:lvl8pPr>
            <a:lvl9pPr marL="2557463" indent="-182563" algn="l" rtl="0" eaLnBrk="1" fontAlgn="base" hangingPunct="1">
              <a:spcBef>
                <a:spcPct val="0"/>
              </a:spcBef>
              <a:spcAft>
                <a:spcPct val="0"/>
              </a:spcAft>
              <a:buClr>
                <a:srgbClr val="FF0000"/>
              </a:buClr>
              <a:buChar char="–"/>
              <a:defRPr sz="1600">
                <a:solidFill>
                  <a:schemeClr val="tx1"/>
                </a:solidFill>
                <a:latin typeface="+mn-lt"/>
              </a:defRPr>
            </a:lvl9pPr>
          </a:lstStyle>
          <a:p>
            <a:pPr marL="180000" marR="0" lvl="1" indent="-180000" algn="l" defTabSz="914400" rtl="0" eaLnBrk="1" fontAlgn="base" latinLnBrk="0" hangingPunct="1">
              <a:lnSpc>
                <a:spcPct val="100000"/>
              </a:lnSpc>
              <a:spcBef>
                <a:spcPts val="600"/>
              </a:spcBef>
              <a:spcAft>
                <a:spcPct val="0"/>
              </a:spcAft>
              <a:buClr>
                <a:srgbClr val="FF0000"/>
              </a:buClr>
              <a:buSzPct val="85000"/>
              <a:buFont typeface="Wingdings" pitchFamily="2" charset="2"/>
              <a:buChar char="n"/>
              <a:tabLst/>
              <a:defRPr/>
            </a:pPr>
            <a:r>
              <a:rPr kumimoji="0" lang="en-US" sz="1200" b="0" i="0" u="none" strike="noStrike" kern="0" cap="none" spc="0" normalizeH="0" baseline="0" noProof="0">
                <a:ln>
                  <a:noFill/>
                </a:ln>
                <a:solidFill>
                  <a:prstClr val="black"/>
                </a:solidFill>
                <a:effectLst/>
                <a:uLnTx/>
                <a:uFillTx/>
                <a:latin typeface="DB Sans"/>
                <a:ea typeface="+mn-ea"/>
                <a:cs typeface="+mn-cs"/>
              </a:rPr>
              <a:t>If something goes wrong, we stand to our faults. With the won knowledge we increase steadily our level of safety. By open, fair dealing with faults we are looking for solutions. </a:t>
            </a:r>
          </a:p>
          <a:p>
            <a:pPr marL="180000" marR="0" lvl="1" indent="-180000" algn="l" defTabSz="914400" rtl="0" eaLnBrk="1" fontAlgn="base" latinLnBrk="0" hangingPunct="1">
              <a:lnSpc>
                <a:spcPct val="100000"/>
              </a:lnSpc>
              <a:spcBef>
                <a:spcPts val="600"/>
              </a:spcBef>
              <a:spcAft>
                <a:spcPct val="0"/>
              </a:spcAft>
              <a:buClr>
                <a:srgbClr val="FF0000"/>
              </a:buClr>
              <a:buSzPct val="85000"/>
              <a:buFont typeface="Wingdings" pitchFamily="2" charset="2"/>
              <a:buChar char="n"/>
              <a:tabLst/>
              <a:defRPr/>
            </a:pPr>
            <a:r>
              <a:rPr kumimoji="0" lang="en-US" sz="1200" b="0" i="0" u="none" strike="noStrike" kern="0" cap="none" spc="0" normalizeH="0" baseline="0" noProof="0">
                <a:ln>
                  <a:noFill/>
                </a:ln>
                <a:solidFill>
                  <a:prstClr val="black"/>
                </a:solidFill>
                <a:effectLst/>
                <a:uLnTx/>
                <a:uFillTx/>
                <a:latin typeface="DB Sans"/>
                <a:ea typeface="+mn-ea"/>
                <a:cs typeface="+mn-cs"/>
              </a:rPr>
              <a:t>We develop our safety procedures with  collaboration and look at human, technical &amp; organizational factors.</a:t>
            </a:r>
            <a:endParaRPr kumimoji="0" lang="de-DE" sz="1200" b="1" i="0" u="none" strike="noStrike" kern="0" cap="none" spc="0" normalizeH="0" baseline="0" noProof="0">
              <a:ln>
                <a:noFill/>
              </a:ln>
              <a:solidFill>
                <a:prstClr val="black"/>
              </a:solidFill>
              <a:effectLst/>
              <a:uLnTx/>
              <a:uFillTx/>
              <a:latin typeface="DB Sans"/>
              <a:ea typeface="+mn-ea"/>
              <a:cs typeface="+mn-cs"/>
            </a:endParaRPr>
          </a:p>
        </p:txBody>
      </p:sp>
      <p:sp>
        <p:nvSpPr>
          <p:cNvPr id="107" name="Freeform: Shape 37">
            <a:extLst>
              <a:ext uri="{FF2B5EF4-FFF2-40B4-BE49-F238E27FC236}">
                <a16:creationId xmlns:a16="http://schemas.microsoft.com/office/drawing/2014/main" id="{C940B4A2-45C0-40B0-8A02-F8B1D5AAD46A}"/>
              </a:ext>
            </a:extLst>
          </p:cNvPr>
          <p:cNvSpPr>
            <a:spLocks noChangeAspect="1"/>
          </p:cNvSpPr>
          <p:nvPr>
            <p:custDataLst>
              <p:tags r:id="rId10"/>
            </p:custDataLst>
          </p:nvPr>
        </p:nvSpPr>
        <p:spPr>
          <a:xfrm rot="5400000">
            <a:off x="2320148" y="3734635"/>
            <a:ext cx="180000" cy="1475335"/>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EC0016"/>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91440" bIns="9144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800" b="1" i="0" u="none" strike="noStrike" kern="1200" cap="none" spc="0" normalizeH="0" baseline="0" noProof="0" err="1">
              <a:ln>
                <a:solidFill>
                  <a:prstClr val="black"/>
                </a:solidFill>
                <a:prstDash val="dash"/>
              </a:ln>
              <a:solidFill>
                <a:srgbClr val="FFFFFF"/>
              </a:solidFill>
              <a:effectLst/>
              <a:uLnTx/>
              <a:uFillTx/>
              <a:latin typeface="DB Sans"/>
              <a:ea typeface="+mn-ea"/>
              <a:cs typeface="+mn-cs"/>
            </a:endParaRPr>
          </a:p>
        </p:txBody>
      </p:sp>
      <p:pic>
        <p:nvPicPr>
          <p:cNvPr id="28" name="Grafik 27" descr="Ein Bild, das Text enthält.&#10;&#10;Automatisch generierte Beschreibung">
            <a:extLst>
              <a:ext uri="{FF2B5EF4-FFF2-40B4-BE49-F238E27FC236}">
                <a16:creationId xmlns:a16="http://schemas.microsoft.com/office/drawing/2014/main" id="{AC24B00D-09B1-4981-9812-A85B22876796}"/>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73796" y="2856426"/>
            <a:ext cx="1237640" cy="1756032"/>
          </a:xfrm>
          <a:prstGeom prst="rect">
            <a:avLst/>
          </a:prstGeom>
        </p:spPr>
      </p:pic>
      <p:pic>
        <p:nvPicPr>
          <p:cNvPr id="69" name="Grafik 68" descr="Ein Bild, das Text, Spielzeug, Puppe, Vektorgrafiken enthält.&#10;&#10;Automatisch generierte Beschreibung">
            <a:extLst>
              <a:ext uri="{FF2B5EF4-FFF2-40B4-BE49-F238E27FC236}">
                <a16:creationId xmlns:a16="http://schemas.microsoft.com/office/drawing/2014/main" id="{FEF7EEC9-A105-44A7-B8E1-6E92C05F7921}"/>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267253" y="4232800"/>
            <a:ext cx="1524127" cy="2078518"/>
          </a:xfrm>
          <a:prstGeom prst="rect">
            <a:avLst/>
          </a:prstGeom>
        </p:spPr>
      </p:pic>
      <p:pic>
        <p:nvPicPr>
          <p:cNvPr id="23" name="Picture 10" descr="E:\Professional_Services\Fotodatenbanken\Fotolia_Deposit_gekaufte_Fotos\Empfehlung.png">
            <a:extLst>
              <a:ext uri="{FF2B5EF4-FFF2-40B4-BE49-F238E27FC236}">
                <a16:creationId xmlns:a16="http://schemas.microsoft.com/office/drawing/2014/main" id="{A5A02420-D4FA-42BD-B217-82C779A496F9}"/>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rot="21430368">
            <a:off x="1314063" y="3422631"/>
            <a:ext cx="1804922" cy="444139"/>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3">
            <a:extLst>
              <a:ext uri="{FF2B5EF4-FFF2-40B4-BE49-F238E27FC236}">
                <a16:creationId xmlns:a16="http://schemas.microsoft.com/office/drawing/2014/main" id="{13A8BE34-F586-4115-AEA9-D4388334F143}"/>
              </a:ext>
            </a:extLst>
          </p:cNvPr>
          <p:cNvSpPr txBox="1"/>
          <p:nvPr/>
        </p:nvSpPr>
        <p:spPr>
          <a:xfrm rot="21104252">
            <a:off x="1606084" y="3520265"/>
            <a:ext cx="1389978" cy="161583"/>
          </a:xfrm>
          <a:prstGeom prst="rect">
            <a:avLst/>
          </a:prstGeom>
          <a:noFill/>
        </p:spPr>
        <p:txBody>
          <a:bodyPr wrap="square" lIns="0" tIns="0" rIns="0" bIns="0" rtlCol="0">
            <a:spAutoFit/>
          </a:bodyPr>
          <a:lstStyle>
            <a:defPPr>
              <a:defRPr lang="de-DE"/>
            </a:defPPr>
            <a:lvl1pPr algn="ctr">
              <a:defRPr sz="1050" b="1">
                <a:solidFill>
                  <a:schemeClr val="bg1">
                    <a:lumMod val="9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err="1">
                <a:ln>
                  <a:noFill/>
                </a:ln>
                <a:solidFill>
                  <a:prstClr val="white">
                    <a:lumMod val="95000"/>
                  </a:prstClr>
                </a:solidFill>
                <a:effectLst/>
                <a:uLnTx/>
                <a:uFillTx/>
                <a:latin typeface="DB Sans"/>
                <a:ea typeface="+mn-ea"/>
                <a:cs typeface="+mn-cs"/>
              </a:rPr>
              <a:t>Safety</a:t>
            </a:r>
            <a:r>
              <a:rPr kumimoji="0" lang="de-DE" sz="1050" b="1" i="0" u="none" strike="noStrike" kern="1200" cap="none" spc="0" normalizeH="0" baseline="0" noProof="0">
                <a:ln>
                  <a:noFill/>
                </a:ln>
                <a:solidFill>
                  <a:prstClr val="white">
                    <a:lumMod val="95000"/>
                  </a:prstClr>
                </a:solidFill>
                <a:effectLst/>
                <a:uLnTx/>
                <a:uFillTx/>
                <a:latin typeface="DB Sans"/>
                <a:ea typeface="+mn-ea"/>
                <a:cs typeface="+mn-cs"/>
              </a:rPr>
              <a:t> </a:t>
            </a:r>
            <a:r>
              <a:rPr kumimoji="0" lang="de-DE" sz="1050" b="1" i="0" u="none" strike="noStrike" kern="1200" cap="none" spc="0" normalizeH="0" baseline="0" noProof="0" err="1">
                <a:ln>
                  <a:noFill/>
                </a:ln>
                <a:solidFill>
                  <a:prstClr val="white">
                    <a:lumMod val="95000"/>
                  </a:prstClr>
                </a:solidFill>
                <a:effectLst/>
                <a:uLnTx/>
                <a:uFillTx/>
                <a:latin typeface="DB Sans"/>
                <a:ea typeface="+mn-ea"/>
                <a:cs typeface="+mn-cs"/>
              </a:rPr>
              <a:t>guidelines</a:t>
            </a:r>
            <a:endParaRPr kumimoji="0" lang="de-DE" sz="1050" b="1" i="0" u="none" strike="noStrike" kern="1200" cap="none" spc="0" normalizeH="0" baseline="0" noProof="0">
              <a:ln>
                <a:noFill/>
              </a:ln>
              <a:solidFill>
                <a:prstClr val="white">
                  <a:lumMod val="95000"/>
                </a:prstClr>
              </a:solidFill>
              <a:effectLst/>
              <a:uLnTx/>
              <a:uFillTx/>
              <a:latin typeface="DB Sans"/>
              <a:ea typeface="+mn-ea"/>
              <a:cs typeface="+mn-cs"/>
            </a:endParaRPr>
          </a:p>
        </p:txBody>
      </p:sp>
      <p:grpSp>
        <p:nvGrpSpPr>
          <p:cNvPr id="70" name="Gruppieren 69">
            <a:extLst>
              <a:ext uri="{FF2B5EF4-FFF2-40B4-BE49-F238E27FC236}">
                <a16:creationId xmlns:a16="http://schemas.microsoft.com/office/drawing/2014/main" id="{DDE4C255-3405-4043-B2A7-256C9D1CB368}"/>
              </a:ext>
            </a:extLst>
          </p:cNvPr>
          <p:cNvGrpSpPr/>
          <p:nvPr/>
        </p:nvGrpSpPr>
        <p:grpSpPr>
          <a:xfrm>
            <a:off x="9768577" y="1542297"/>
            <a:ext cx="1985439" cy="1065003"/>
            <a:chOff x="1211829" y="2714033"/>
            <a:chExt cx="2088842" cy="759600"/>
          </a:xfrm>
        </p:grpSpPr>
        <p:pic>
          <p:nvPicPr>
            <p:cNvPr id="25" name="Picture 10" descr="E:\Professional_Services\Fotodatenbanken\Fotolia_Deposit_gekaufte_Fotos\Empfehlung.png">
              <a:extLst>
                <a:ext uri="{FF2B5EF4-FFF2-40B4-BE49-F238E27FC236}">
                  <a16:creationId xmlns:a16="http://schemas.microsoft.com/office/drawing/2014/main" id="{E0EF0DC0-B40F-487D-AAFA-5657C5E025CD}"/>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1211829" y="2714033"/>
              <a:ext cx="2088842" cy="7596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a:extLst>
                <a:ext uri="{FF2B5EF4-FFF2-40B4-BE49-F238E27FC236}">
                  <a16:creationId xmlns:a16="http://schemas.microsoft.com/office/drawing/2014/main" id="{EDACA444-C78D-4F46-B95F-DBD4281B8A17}"/>
                </a:ext>
              </a:extLst>
            </p:cNvPr>
            <p:cNvSpPr txBox="1"/>
            <p:nvPr/>
          </p:nvSpPr>
          <p:spPr>
            <a:xfrm rot="20866444">
              <a:off x="1492985" y="2924187"/>
              <a:ext cx="1608626" cy="2634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err="1">
                  <a:ln>
                    <a:noFill/>
                  </a:ln>
                  <a:solidFill>
                    <a:prstClr val="white">
                      <a:lumMod val="95000"/>
                    </a:prstClr>
                  </a:solidFill>
                  <a:effectLst/>
                  <a:uLnTx/>
                  <a:uFillTx/>
                  <a:latin typeface="DB Sans"/>
                  <a:ea typeface="+mn-ea"/>
                  <a:cs typeface="+mn-cs"/>
                </a:rPr>
                <a:t>Safetyculture</a:t>
              </a:r>
              <a:r>
                <a:rPr kumimoji="0" lang="de-DE" sz="1200" b="1" i="0" u="none" strike="noStrike" kern="1200" cap="none" spc="0" normalizeH="0" baseline="0" noProof="0">
                  <a:ln>
                    <a:noFill/>
                  </a:ln>
                  <a:solidFill>
                    <a:prstClr val="white">
                      <a:lumMod val="95000"/>
                    </a:prstClr>
                  </a:solidFill>
                  <a:effectLst/>
                  <a:uLnTx/>
                  <a:uFillTx/>
                  <a:latin typeface="DB Sans"/>
                  <a:ea typeface="+mn-ea"/>
                  <a:cs typeface="+mn-cs"/>
                </a:rPr>
                <a:t>   </a:t>
              </a:r>
              <a:r>
                <a:rPr kumimoji="0" lang="de-DE" sz="1200" b="1" i="0" u="none" strike="noStrike" kern="1200" cap="none" spc="0" normalizeH="0" baseline="0" noProof="0" err="1">
                  <a:ln>
                    <a:noFill/>
                  </a:ln>
                  <a:solidFill>
                    <a:prstClr val="white">
                      <a:lumMod val="95000"/>
                    </a:prstClr>
                  </a:solidFill>
                  <a:effectLst/>
                  <a:uLnTx/>
                  <a:uFillTx/>
                  <a:latin typeface="DB Sans"/>
                  <a:ea typeface="+mn-ea"/>
                  <a:cs typeface="+mn-cs"/>
                </a:rPr>
                <a:t>action</a:t>
              </a:r>
              <a:r>
                <a:rPr kumimoji="0" lang="de-DE" sz="1200" b="1" i="0" u="none" strike="noStrike" kern="1200" cap="none" spc="0" normalizeH="0" baseline="0" noProof="0">
                  <a:ln>
                    <a:noFill/>
                  </a:ln>
                  <a:solidFill>
                    <a:prstClr val="white">
                      <a:lumMod val="95000"/>
                    </a:prstClr>
                  </a:solidFill>
                  <a:effectLst/>
                  <a:uLnTx/>
                  <a:uFillTx/>
                  <a:latin typeface="DB Sans"/>
                  <a:ea typeface="+mn-ea"/>
                  <a:cs typeface="+mn-cs"/>
                </a:rPr>
                <a:t> plan</a:t>
              </a:r>
            </a:p>
          </p:txBody>
        </p:sp>
      </p:grpSp>
      <p:sp>
        <p:nvSpPr>
          <p:cNvPr id="119" name="Denkblase: wolkenförmig 118">
            <a:extLst>
              <a:ext uri="{FF2B5EF4-FFF2-40B4-BE49-F238E27FC236}">
                <a16:creationId xmlns:a16="http://schemas.microsoft.com/office/drawing/2014/main" id="{FC5A92E2-03AF-4FEC-9A14-0FED1266E180}"/>
              </a:ext>
            </a:extLst>
          </p:cNvPr>
          <p:cNvSpPr/>
          <p:nvPr/>
        </p:nvSpPr>
        <p:spPr bwMode="auto">
          <a:xfrm rot="20669634">
            <a:off x="8498067" y="3766875"/>
            <a:ext cx="1163107" cy="1038506"/>
          </a:xfrm>
          <a:prstGeom prst="cloudCallout">
            <a:avLst>
              <a:gd name="adj1" fmla="val -67230"/>
              <a:gd name="adj2" fmla="val 4080"/>
            </a:avLst>
          </a:prstGeom>
          <a:solidFill>
            <a:schemeClr val="accent1"/>
          </a:solidFill>
          <a:ln w="9525" cap="flat" cmpd="sng" algn="ctr">
            <a:solidFill>
              <a:srgbClr val="000000"/>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err="1">
              <a:ln>
                <a:noFill/>
              </a:ln>
              <a:solidFill>
                <a:prstClr val="black"/>
              </a:solidFill>
              <a:effectLst/>
              <a:uLnTx/>
              <a:uFillTx/>
              <a:latin typeface="DB Office" pitchFamily="34" charset="0"/>
              <a:ea typeface="+mn-ea"/>
              <a:cs typeface="+mn-cs"/>
            </a:endParaRPr>
          </a:p>
        </p:txBody>
      </p:sp>
      <p:grpSp>
        <p:nvGrpSpPr>
          <p:cNvPr id="120" name="easyIcon">
            <a:extLst>
              <a:ext uri="{FF2B5EF4-FFF2-40B4-BE49-F238E27FC236}">
                <a16:creationId xmlns:a16="http://schemas.microsoft.com/office/drawing/2014/main" id="{478AF155-7EC8-46B3-8978-54B5DD290F92}"/>
              </a:ext>
            </a:extLst>
          </p:cNvPr>
          <p:cNvGrpSpPr>
            <a:grpSpLocks noChangeAspect="1"/>
          </p:cNvGrpSpPr>
          <p:nvPr>
            <p:custDataLst>
              <p:tags r:id="rId11"/>
            </p:custDataLst>
          </p:nvPr>
        </p:nvGrpSpPr>
        <p:grpSpPr>
          <a:xfrm rot="19655815">
            <a:off x="8746613" y="3910895"/>
            <a:ext cx="705317" cy="705317"/>
            <a:chOff x="688291" y="2211256"/>
            <a:chExt cx="446281" cy="446281"/>
          </a:xfrm>
        </p:grpSpPr>
        <p:sp>
          <p:nvSpPr>
            <p:cNvPr id="121" name="Background">
              <a:extLst>
                <a:ext uri="{FF2B5EF4-FFF2-40B4-BE49-F238E27FC236}">
                  <a16:creationId xmlns:a16="http://schemas.microsoft.com/office/drawing/2014/main" id="{343DEAA2-9D4E-4DF2-9CD8-C43A3FED509F}"/>
                </a:ext>
              </a:extLst>
            </p:cNvPr>
            <p:cNvSpPr/>
            <p:nvPr/>
          </p:nvSpPr>
          <p:spPr>
            <a:xfrm>
              <a:off x="688291" y="2211256"/>
              <a:ext cx="446281" cy="446281"/>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DB Sans"/>
                <a:ea typeface="+mn-ea"/>
                <a:cs typeface="+mn-cs"/>
              </a:endParaRPr>
            </a:p>
          </p:txBody>
        </p:sp>
        <p:pic>
          <p:nvPicPr>
            <p:cNvPr id="122" name="Vector">
              <a:extLst>
                <a:ext uri="{FF2B5EF4-FFF2-40B4-BE49-F238E27FC236}">
                  <a16:creationId xmlns:a16="http://schemas.microsoft.com/office/drawing/2014/main" id="{45420D85-73D5-4B13-8DE3-41E8B6EE52B7}"/>
                </a:ext>
              </a:extLst>
            </p:cNvPr>
            <p:cNvPicPr>
              <a:picLocks noChangeAspect="1"/>
            </p:cNvPicPr>
            <p:nvPr>
              <p:custDataLst>
                <p:tags r:id="rId19"/>
              </p:custDataLst>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a:fillRect/>
            </a:stretch>
          </p:blipFill>
          <p:spPr>
            <a:xfrm rot="1944185">
              <a:off x="697117" y="2220082"/>
              <a:ext cx="432000" cy="432000"/>
            </a:xfrm>
            <a:prstGeom prst="rect">
              <a:avLst/>
            </a:prstGeom>
          </p:spPr>
        </p:pic>
      </p:grpSp>
      <p:pic>
        <p:nvPicPr>
          <p:cNvPr id="123" name="Grafik 122" descr="Bücher">
            <a:extLst>
              <a:ext uri="{FF2B5EF4-FFF2-40B4-BE49-F238E27FC236}">
                <a16:creationId xmlns:a16="http://schemas.microsoft.com/office/drawing/2014/main" id="{1184020C-E5DA-4E7B-BCC6-1BCC1A2D2A95}"/>
              </a:ext>
            </a:extLst>
          </p:cNvPr>
          <p:cNvPicPr>
            <a:picLocks noChangeAspect="1"/>
          </p:cNvPicPr>
          <p:nvPr/>
        </p:nvPicPr>
        <p:blipFill>
          <a:blip r:embed="rId30">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4723529" y="1066476"/>
            <a:ext cx="1000694" cy="1000694"/>
          </a:xfrm>
          <a:prstGeom prst="rect">
            <a:avLst/>
          </a:prstGeom>
        </p:spPr>
      </p:pic>
      <p:sp>
        <p:nvSpPr>
          <p:cNvPr id="130" name="Freeform 8">
            <a:extLst>
              <a:ext uri="{FF2B5EF4-FFF2-40B4-BE49-F238E27FC236}">
                <a16:creationId xmlns:a16="http://schemas.microsoft.com/office/drawing/2014/main" id="{2DD2CB28-1D04-494D-BB2C-FAB5C1EFE044}"/>
              </a:ext>
            </a:extLst>
          </p:cNvPr>
          <p:cNvSpPr>
            <a:spLocks noChangeAspect="1" noEditPoints="1"/>
          </p:cNvSpPr>
          <p:nvPr>
            <p:custDataLst>
              <p:tags r:id="rId12"/>
            </p:custDataLst>
          </p:nvPr>
        </p:nvSpPr>
        <p:spPr bwMode="gray">
          <a:xfrm rot="13444336" flipV="1">
            <a:off x="7345441" y="2088221"/>
            <a:ext cx="2447112" cy="823806"/>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rgbClr val="92D050"/>
          </a:solidFill>
          <a:ln>
            <a:noFill/>
          </a:ln>
          <a:effec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92D050"/>
              </a:solidFill>
              <a:effectLst/>
              <a:uLnTx/>
              <a:uFillTx/>
              <a:latin typeface="DB Sans"/>
              <a:ea typeface="+mn-ea"/>
              <a:cs typeface="+mn-cs"/>
            </a:endParaRPr>
          </a:p>
        </p:txBody>
      </p:sp>
      <p:pic>
        <p:nvPicPr>
          <p:cNvPr id="138" name="Grafik 137" descr="Cursor mit einfarbiger Füllung">
            <a:extLst>
              <a:ext uri="{FF2B5EF4-FFF2-40B4-BE49-F238E27FC236}">
                <a16:creationId xmlns:a16="http://schemas.microsoft.com/office/drawing/2014/main" id="{37954330-9EA7-4DB4-A0AC-32C383379A31}"/>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rot="18415700">
            <a:off x="9479110" y="3443387"/>
            <a:ext cx="637784" cy="637784"/>
          </a:xfrm>
          <a:prstGeom prst="rect">
            <a:avLst/>
          </a:prstGeom>
        </p:spPr>
      </p:pic>
      <p:pic>
        <p:nvPicPr>
          <p:cNvPr id="139" name="Grafik 138" descr="Cursor mit einfarbiger Füllung">
            <a:extLst>
              <a:ext uri="{FF2B5EF4-FFF2-40B4-BE49-F238E27FC236}">
                <a16:creationId xmlns:a16="http://schemas.microsoft.com/office/drawing/2014/main" id="{F532478B-CCF1-4604-9078-F849AE8EB01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rot="20916810">
            <a:off x="9418120" y="4479149"/>
            <a:ext cx="637784" cy="637784"/>
          </a:xfrm>
          <a:prstGeom prst="rect">
            <a:avLst/>
          </a:prstGeom>
        </p:spPr>
      </p:pic>
      <p:sp>
        <p:nvSpPr>
          <p:cNvPr id="140" name="Freeform: Shape 40">
            <a:extLst>
              <a:ext uri="{FF2B5EF4-FFF2-40B4-BE49-F238E27FC236}">
                <a16:creationId xmlns:a16="http://schemas.microsoft.com/office/drawing/2014/main" id="{E789F87B-B677-4868-94C7-78CCFC9067FF}"/>
              </a:ext>
            </a:extLst>
          </p:cNvPr>
          <p:cNvSpPr>
            <a:spLocks noChangeAspect="1"/>
          </p:cNvSpPr>
          <p:nvPr>
            <p:custDataLst>
              <p:tags r:id="rId13"/>
            </p:custDataLst>
          </p:nvPr>
        </p:nvSpPr>
        <p:spPr>
          <a:xfrm>
            <a:off x="3576554" y="1330197"/>
            <a:ext cx="180000" cy="648000"/>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D7DCE1"/>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91440" bIns="9144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800" b="1" i="0" u="none" strike="noStrike" kern="1200" cap="none" spc="0" normalizeH="0" baseline="0" noProof="0" err="1">
              <a:ln>
                <a:solidFill>
                  <a:prstClr val="black"/>
                </a:solidFill>
                <a:prstDash val="dash"/>
              </a:ln>
              <a:solidFill>
                <a:srgbClr val="000000"/>
              </a:solidFill>
              <a:effectLst/>
              <a:uLnTx/>
              <a:uFillTx/>
              <a:latin typeface="DB Sans"/>
              <a:ea typeface="+mn-ea"/>
              <a:cs typeface="+mn-cs"/>
            </a:endParaRPr>
          </a:p>
        </p:txBody>
      </p:sp>
      <p:sp>
        <p:nvSpPr>
          <p:cNvPr id="141" name="Freeform: Shape 40">
            <a:extLst>
              <a:ext uri="{FF2B5EF4-FFF2-40B4-BE49-F238E27FC236}">
                <a16:creationId xmlns:a16="http://schemas.microsoft.com/office/drawing/2014/main" id="{5AAEDB65-CA27-49EE-93D5-B72D593467F2}"/>
              </a:ext>
            </a:extLst>
          </p:cNvPr>
          <p:cNvSpPr>
            <a:spLocks noChangeAspect="1"/>
          </p:cNvSpPr>
          <p:nvPr>
            <p:custDataLst>
              <p:tags r:id="rId14"/>
            </p:custDataLst>
          </p:nvPr>
        </p:nvSpPr>
        <p:spPr>
          <a:xfrm>
            <a:off x="3741827" y="1328356"/>
            <a:ext cx="180000" cy="648000"/>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D7DCE1"/>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91440" bIns="9144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800" b="1" i="0" u="none" strike="noStrike" kern="1200" cap="none" spc="0" normalizeH="0" baseline="0" noProof="0" err="1">
              <a:ln>
                <a:solidFill>
                  <a:prstClr val="black"/>
                </a:solidFill>
                <a:prstDash val="dash"/>
              </a:ln>
              <a:solidFill>
                <a:srgbClr val="000000"/>
              </a:solidFill>
              <a:effectLst/>
              <a:uLnTx/>
              <a:uFillTx/>
              <a:latin typeface="DB Sans"/>
              <a:ea typeface="+mn-ea"/>
              <a:cs typeface="+mn-cs"/>
            </a:endParaRPr>
          </a:p>
        </p:txBody>
      </p:sp>
      <p:sp>
        <p:nvSpPr>
          <p:cNvPr id="142" name="Freeform: Shape 40">
            <a:extLst>
              <a:ext uri="{FF2B5EF4-FFF2-40B4-BE49-F238E27FC236}">
                <a16:creationId xmlns:a16="http://schemas.microsoft.com/office/drawing/2014/main" id="{74FCBE37-44EF-4755-8E31-9474E273E34F}"/>
              </a:ext>
            </a:extLst>
          </p:cNvPr>
          <p:cNvSpPr>
            <a:spLocks noChangeAspect="1"/>
          </p:cNvSpPr>
          <p:nvPr>
            <p:custDataLst>
              <p:tags r:id="rId15"/>
            </p:custDataLst>
          </p:nvPr>
        </p:nvSpPr>
        <p:spPr>
          <a:xfrm>
            <a:off x="3909717" y="1330197"/>
            <a:ext cx="180000" cy="648000"/>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D7DCE1"/>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91440" bIns="9144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800" b="1" i="0" u="none" strike="noStrike" kern="1200" cap="none" spc="0" normalizeH="0" baseline="0" noProof="0" err="1">
              <a:ln>
                <a:solidFill>
                  <a:prstClr val="black"/>
                </a:solidFill>
                <a:prstDash val="dash"/>
              </a:ln>
              <a:solidFill>
                <a:srgbClr val="000000"/>
              </a:solidFill>
              <a:effectLst/>
              <a:uLnTx/>
              <a:uFillTx/>
              <a:latin typeface="DB Sans"/>
              <a:ea typeface="+mn-ea"/>
              <a:cs typeface="+mn-cs"/>
            </a:endParaRPr>
          </a:p>
        </p:txBody>
      </p:sp>
      <p:sp>
        <p:nvSpPr>
          <p:cNvPr id="143" name="Freeform: Shape 40">
            <a:extLst>
              <a:ext uri="{FF2B5EF4-FFF2-40B4-BE49-F238E27FC236}">
                <a16:creationId xmlns:a16="http://schemas.microsoft.com/office/drawing/2014/main" id="{14534FF1-C69F-4490-8C25-31BAFBE7E24E}"/>
              </a:ext>
            </a:extLst>
          </p:cNvPr>
          <p:cNvSpPr>
            <a:spLocks noChangeAspect="1"/>
          </p:cNvSpPr>
          <p:nvPr>
            <p:custDataLst>
              <p:tags r:id="rId16"/>
            </p:custDataLst>
          </p:nvPr>
        </p:nvSpPr>
        <p:spPr>
          <a:xfrm>
            <a:off x="4074990" y="1328356"/>
            <a:ext cx="180000" cy="648000"/>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D7DCE1"/>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91440" bIns="9144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800" b="1" i="0" u="none" strike="noStrike" kern="1200" cap="none" spc="0" normalizeH="0" baseline="0" noProof="0" err="1">
              <a:ln>
                <a:solidFill>
                  <a:prstClr val="black"/>
                </a:solidFill>
                <a:prstDash val="dash"/>
              </a:ln>
              <a:solidFill>
                <a:srgbClr val="000000"/>
              </a:solidFill>
              <a:effectLst/>
              <a:uLnTx/>
              <a:uFillTx/>
              <a:latin typeface="DB Sans"/>
              <a:ea typeface="+mn-ea"/>
              <a:cs typeface="+mn-cs"/>
            </a:endParaRPr>
          </a:p>
        </p:txBody>
      </p:sp>
      <p:sp>
        <p:nvSpPr>
          <p:cNvPr id="144" name="Freeform: Shape 40">
            <a:extLst>
              <a:ext uri="{FF2B5EF4-FFF2-40B4-BE49-F238E27FC236}">
                <a16:creationId xmlns:a16="http://schemas.microsoft.com/office/drawing/2014/main" id="{25F49A2B-CE21-4990-B2C2-FC588DAF34FD}"/>
              </a:ext>
            </a:extLst>
          </p:cNvPr>
          <p:cNvSpPr>
            <a:spLocks noChangeAspect="1"/>
          </p:cNvSpPr>
          <p:nvPr>
            <p:custDataLst>
              <p:tags r:id="rId17"/>
            </p:custDataLst>
          </p:nvPr>
        </p:nvSpPr>
        <p:spPr>
          <a:xfrm rot="5400000">
            <a:off x="1945290" y="2462234"/>
            <a:ext cx="180000" cy="648000"/>
          </a:xfrm>
          <a:custGeom>
            <a:avLst/>
            <a:gdLst>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486110 w 495288"/>
              <a:gd name="connsiteY5" fmla="*/ 899882 h 1747049"/>
              <a:gd name="connsiteX6" fmla="*/ 106053 w 495288"/>
              <a:gd name="connsiteY6" fmla="*/ 1714919 h 1747049"/>
              <a:gd name="connsiteX7" fmla="*/ 32129 w 495288"/>
              <a:gd name="connsiteY7" fmla="*/ 1741826 h 1747049"/>
              <a:gd name="connsiteX8" fmla="*/ 3366 w 495288"/>
              <a:gd name="connsiteY8" fmla="*/ 1710433 h 1747049"/>
              <a:gd name="connsiteX9" fmla="*/ 5223 w 495288"/>
              <a:gd name="connsiteY9" fmla="*/ 1667902 h 1747049"/>
              <a:gd name="connsiteX10" fmla="*/ 377625 w 495288"/>
              <a:gd name="connsiteY10" fmla="*/ 869285 h 1747049"/>
              <a:gd name="connsiteX11" fmla="*/ 9176 w 495288"/>
              <a:gd name="connsiteY11" fmla="*/ 79149 h 1747049"/>
              <a:gd name="connsiteX12" fmla="*/ 36082 w 495288"/>
              <a:gd name="connsiteY12" fmla="*/ 5225 h 1747049"/>
              <a:gd name="connsiteX13" fmla="*/ 78615 w 495288"/>
              <a:gd name="connsiteY13"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486287 w 495288"/>
              <a:gd name="connsiteY4" fmla="*/ 895847 h 1747049"/>
              <a:gd name="connsiteX5" fmla="*/ 106053 w 495288"/>
              <a:gd name="connsiteY5" fmla="*/ 1714919 h 1747049"/>
              <a:gd name="connsiteX6" fmla="*/ 32129 w 495288"/>
              <a:gd name="connsiteY6" fmla="*/ 1741826 h 1747049"/>
              <a:gd name="connsiteX7" fmla="*/ 3366 w 495288"/>
              <a:gd name="connsiteY7" fmla="*/ 1710433 h 1747049"/>
              <a:gd name="connsiteX8" fmla="*/ 5223 w 495288"/>
              <a:gd name="connsiteY8" fmla="*/ 1667902 h 1747049"/>
              <a:gd name="connsiteX9" fmla="*/ 377625 w 495288"/>
              <a:gd name="connsiteY9" fmla="*/ 869285 h 1747049"/>
              <a:gd name="connsiteX10" fmla="*/ 9176 w 495288"/>
              <a:gd name="connsiteY10" fmla="*/ 79149 h 1747049"/>
              <a:gd name="connsiteX11" fmla="*/ 36082 w 495288"/>
              <a:gd name="connsiteY11" fmla="*/ 5225 h 1747049"/>
              <a:gd name="connsiteX12" fmla="*/ 78615 w 495288"/>
              <a:gd name="connsiteY12" fmla="*/ 3367 h 1747049"/>
              <a:gd name="connsiteX0" fmla="*/ 78615 w 495288"/>
              <a:gd name="connsiteY0" fmla="*/ 3367 h 1747049"/>
              <a:gd name="connsiteX1" fmla="*/ 110003 w 495288"/>
              <a:gd name="connsiteY1" fmla="*/ 32127 h 1747049"/>
              <a:gd name="connsiteX2" fmla="*/ 490063 w 495288"/>
              <a:gd name="connsiteY2" fmla="*/ 847166 h 1747049"/>
              <a:gd name="connsiteX3" fmla="*/ 491922 w 495288"/>
              <a:gd name="connsiteY3" fmla="*/ 889700 h 1747049"/>
              <a:gd name="connsiteX4" fmla="*/ 106053 w 495288"/>
              <a:gd name="connsiteY4" fmla="*/ 1714919 h 1747049"/>
              <a:gd name="connsiteX5" fmla="*/ 32129 w 495288"/>
              <a:gd name="connsiteY5" fmla="*/ 1741826 h 1747049"/>
              <a:gd name="connsiteX6" fmla="*/ 3366 w 495288"/>
              <a:gd name="connsiteY6" fmla="*/ 1710433 h 1747049"/>
              <a:gd name="connsiteX7" fmla="*/ 5223 w 495288"/>
              <a:gd name="connsiteY7" fmla="*/ 1667902 h 1747049"/>
              <a:gd name="connsiteX8" fmla="*/ 377625 w 495288"/>
              <a:gd name="connsiteY8" fmla="*/ 869285 h 1747049"/>
              <a:gd name="connsiteX9" fmla="*/ 9176 w 495288"/>
              <a:gd name="connsiteY9" fmla="*/ 79149 h 1747049"/>
              <a:gd name="connsiteX10" fmla="*/ 36082 w 495288"/>
              <a:gd name="connsiteY10" fmla="*/ 5225 h 1747049"/>
              <a:gd name="connsiteX11" fmla="*/ 78615 w 495288"/>
              <a:gd name="connsiteY11" fmla="*/ 3367 h 174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288" h="1747049">
                <a:moveTo>
                  <a:pt x="78615" y="3367"/>
                </a:moveTo>
                <a:cubicBezTo>
                  <a:pt x="91993" y="8236"/>
                  <a:pt x="103512" y="18207"/>
                  <a:pt x="110003" y="32127"/>
                </a:cubicBezTo>
                <a:lnTo>
                  <a:pt x="490063" y="847166"/>
                </a:lnTo>
                <a:cubicBezTo>
                  <a:pt x="496555" y="861085"/>
                  <a:pt x="496790" y="876323"/>
                  <a:pt x="491922" y="889700"/>
                </a:cubicBezTo>
                <a:lnTo>
                  <a:pt x="106053" y="1714919"/>
                </a:lnTo>
                <a:cubicBezTo>
                  <a:pt x="93068" y="1742760"/>
                  <a:pt x="59971" y="1754808"/>
                  <a:pt x="32129" y="1741826"/>
                </a:cubicBezTo>
                <a:cubicBezTo>
                  <a:pt x="18210" y="1735333"/>
                  <a:pt x="8236" y="1723814"/>
                  <a:pt x="3366" y="1710433"/>
                </a:cubicBezTo>
                <a:cubicBezTo>
                  <a:pt x="-1502" y="1697057"/>
                  <a:pt x="-1267" y="1681821"/>
                  <a:pt x="5223" y="1667902"/>
                </a:cubicBezTo>
                <a:lnTo>
                  <a:pt x="377625" y="869285"/>
                </a:lnTo>
                <a:lnTo>
                  <a:pt x="9176" y="79149"/>
                </a:lnTo>
                <a:cubicBezTo>
                  <a:pt x="-3809" y="51305"/>
                  <a:pt x="8241" y="18207"/>
                  <a:pt x="36082" y="5225"/>
                </a:cubicBezTo>
                <a:cubicBezTo>
                  <a:pt x="50003" y="-1267"/>
                  <a:pt x="65238" y="-1502"/>
                  <a:pt x="78615" y="3367"/>
                </a:cubicBezTo>
                <a:close/>
              </a:path>
            </a:pathLst>
          </a:custGeom>
          <a:solidFill>
            <a:srgbClr val="D7DCE1"/>
          </a:solidFill>
          <a:ln w="6350" cap="rnd" cmpd="sng">
            <a:noFill/>
            <a:prstDash val="solid"/>
            <a:round/>
            <a:headEnd type="none" w="lg" len="lg"/>
            <a:tailEnd type="none" w="lg" len="lg"/>
          </a:ln>
          <a:extLst>
            <a:ext uri="{91240B29-F687-4F45-9708-019B960494DF}">
              <a14:hiddenLine xmlns:a14="http://schemas.microsoft.com/office/drawing/2010/main" w="6350" cap="rnd" cmpd="sng">
                <a:solidFill>
                  <a:srgbClr val="000000"/>
                </a:solidFill>
                <a:prstDash val="solid"/>
                <a:round/>
                <a:headEnd type="none" w="lg" len="lg"/>
                <a:tailEnd type="none" w="lg" len="lg"/>
              </a14:hiddenLine>
            </a:ext>
          </a:extLst>
        </p:spPr>
        <p:txBody>
          <a:bodyPr wrap="none" tIns="91440" bIns="91440" anchor="ct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de-DE" sz="1800" b="1" i="0" u="none" strike="noStrike" kern="1200" cap="none" spc="0" normalizeH="0" baseline="0" noProof="0" err="1">
              <a:ln>
                <a:solidFill>
                  <a:prstClr val="black"/>
                </a:solidFill>
                <a:prstDash val="dash"/>
              </a:ln>
              <a:solidFill>
                <a:srgbClr val="000000"/>
              </a:solidFill>
              <a:effectLst/>
              <a:uLnTx/>
              <a:uFillTx/>
              <a:latin typeface="DB Sans"/>
              <a:ea typeface="+mn-ea"/>
              <a:cs typeface="+mn-cs"/>
            </a:endParaRPr>
          </a:p>
        </p:txBody>
      </p:sp>
      <p:pic>
        <p:nvPicPr>
          <p:cNvPr id="124" name="Grafik 123" descr="Gruppenbrainstorming">
            <a:extLst>
              <a:ext uri="{FF2B5EF4-FFF2-40B4-BE49-F238E27FC236}">
                <a16:creationId xmlns:a16="http://schemas.microsoft.com/office/drawing/2014/main" id="{E9746A10-B547-43FE-8C69-60093ED6BC58}"/>
              </a:ext>
            </a:extLst>
          </p:cNvPr>
          <p:cNvPicPr>
            <a:picLocks noChangeAspect="1"/>
          </p:cNvPicPr>
          <p:nvPr/>
        </p:nvPicPr>
        <p:blipFill>
          <a:blip r:embed="rId34">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8508402" y="1470351"/>
            <a:ext cx="636600" cy="636600"/>
          </a:xfrm>
          <a:prstGeom prst="rect">
            <a:avLst/>
          </a:prstGeom>
        </p:spPr>
      </p:pic>
      <p:sp>
        <p:nvSpPr>
          <p:cNvPr id="147" name="Freihandform 63">
            <a:extLst>
              <a:ext uri="{FF2B5EF4-FFF2-40B4-BE49-F238E27FC236}">
                <a16:creationId xmlns:a16="http://schemas.microsoft.com/office/drawing/2014/main" id="{AF4120B9-00D9-4050-BA53-1B17FB1E7CFF}"/>
              </a:ext>
            </a:extLst>
          </p:cNvPr>
          <p:cNvSpPr/>
          <p:nvPr>
            <p:custDataLst>
              <p:tags r:id="rId18"/>
            </p:custDataLst>
          </p:nvPr>
        </p:nvSpPr>
        <p:spPr bwMode="gray">
          <a:xfrm>
            <a:off x="7639355" y="1007477"/>
            <a:ext cx="1842909" cy="628952"/>
          </a:xfrm>
          <a:custGeom>
            <a:avLst/>
            <a:gdLst>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6420 w 5563518"/>
              <a:gd name="connsiteY67" fmla="*/ 2798284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33786 w 5565101"/>
              <a:gd name="connsiteY18" fmla="*/ 2577947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33786 w 5565101"/>
              <a:gd name="connsiteY18" fmla="*/ 2577947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707070 w 5565101"/>
              <a:gd name="connsiteY45" fmla="*/ 575446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73467 w 5565101"/>
              <a:gd name="connsiteY67" fmla="*/ 2149820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73467 w 5565101"/>
              <a:gd name="connsiteY67" fmla="*/ 2149820 h 3635566"/>
              <a:gd name="connsiteX68" fmla="*/ 2883902 w 5565101"/>
              <a:gd name="connsiteY68" fmla="*/ 2810585 h 3635566"/>
              <a:gd name="connsiteX69" fmla="*/ 783781 w 5565101"/>
              <a:gd name="connsiteY69" fmla="*/ 3635566 h 363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565101" h="3635566">
                <a:moveTo>
                  <a:pt x="783781" y="3635566"/>
                </a:moveTo>
                <a:lnTo>
                  <a:pt x="783781" y="3635566"/>
                </a:lnTo>
                <a:lnTo>
                  <a:pt x="673612" y="3481330"/>
                </a:lnTo>
                <a:cubicBezTo>
                  <a:pt x="736041" y="3437263"/>
                  <a:pt x="864077" y="3417798"/>
                  <a:pt x="860899" y="3349128"/>
                </a:cubicBezTo>
                <a:lnTo>
                  <a:pt x="860899" y="3349128"/>
                </a:lnTo>
                <a:cubicBezTo>
                  <a:pt x="860899" y="3349128"/>
                  <a:pt x="898100" y="3280220"/>
                  <a:pt x="673612" y="3360145"/>
                </a:cubicBezTo>
                <a:cubicBezTo>
                  <a:pt x="619203" y="3311301"/>
                  <a:pt x="601698" y="3254258"/>
                  <a:pt x="604695" y="3156209"/>
                </a:cubicBezTo>
                <a:cubicBezTo>
                  <a:pt x="638684" y="3110347"/>
                  <a:pt x="734181" y="3113689"/>
                  <a:pt x="706663" y="3018622"/>
                </a:cubicBezTo>
                <a:cubicBezTo>
                  <a:pt x="680282" y="3011953"/>
                  <a:pt x="573736" y="3080540"/>
                  <a:pt x="541410" y="3084723"/>
                </a:cubicBezTo>
                <a:cubicBezTo>
                  <a:pt x="509084" y="3088906"/>
                  <a:pt x="522275" y="3057387"/>
                  <a:pt x="512707" y="3043719"/>
                </a:cubicBezTo>
                <a:lnTo>
                  <a:pt x="673612" y="2886419"/>
                </a:lnTo>
                <a:cubicBezTo>
                  <a:pt x="667634" y="2852940"/>
                  <a:pt x="694461" y="2827662"/>
                  <a:pt x="655679" y="2785982"/>
                </a:cubicBezTo>
                <a:cubicBezTo>
                  <a:pt x="554732" y="2804591"/>
                  <a:pt x="457886" y="2954414"/>
                  <a:pt x="377441" y="2956621"/>
                </a:cubicBezTo>
                <a:cubicBezTo>
                  <a:pt x="337293" y="2931690"/>
                  <a:pt x="399656" y="2849350"/>
                  <a:pt x="343106" y="2820318"/>
                </a:cubicBezTo>
                <a:cubicBezTo>
                  <a:pt x="277005" y="2806733"/>
                  <a:pt x="223205" y="2875156"/>
                  <a:pt x="144803" y="2853369"/>
                </a:cubicBezTo>
                <a:cubicBezTo>
                  <a:pt x="112428" y="2832619"/>
                  <a:pt x="174362" y="2762666"/>
                  <a:pt x="133786" y="2754217"/>
                </a:cubicBezTo>
                <a:cubicBezTo>
                  <a:pt x="100307" y="2752504"/>
                  <a:pt x="87330" y="2799997"/>
                  <a:pt x="45651" y="2798284"/>
                </a:cubicBezTo>
                <a:cubicBezTo>
                  <a:pt x="30962" y="2765234"/>
                  <a:pt x="-8330" y="2760886"/>
                  <a:pt x="1583" y="2699133"/>
                </a:cubicBezTo>
                <a:lnTo>
                  <a:pt x="125585" y="2606651"/>
                </a:lnTo>
                <a:lnTo>
                  <a:pt x="111752" y="2511846"/>
                </a:lnTo>
                <a:cubicBezTo>
                  <a:pt x="148475" y="2500829"/>
                  <a:pt x="189298" y="2514414"/>
                  <a:pt x="221921" y="2478795"/>
                </a:cubicBezTo>
                <a:cubicBezTo>
                  <a:pt x="216717" y="2436687"/>
                  <a:pt x="141806" y="2447885"/>
                  <a:pt x="144803" y="2401677"/>
                </a:cubicBezTo>
                <a:cubicBezTo>
                  <a:pt x="174181" y="2373403"/>
                  <a:pt x="203560" y="2394332"/>
                  <a:pt x="232938" y="2390660"/>
                </a:cubicBezTo>
                <a:lnTo>
                  <a:pt x="232938" y="2390660"/>
                </a:lnTo>
                <a:cubicBezTo>
                  <a:pt x="232938" y="2353937"/>
                  <a:pt x="196034" y="2341818"/>
                  <a:pt x="232938" y="2280492"/>
                </a:cubicBezTo>
                <a:lnTo>
                  <a:pt x="133786" y="2269475"/>
                </a:lnTo>
                <a:cubicBezTo>
                  <a:pt x="126327" y="2216532"/>
                  <a:pt x="336190" y="2147186"/>
                  <a:pt x="431241" y="2049137"/>
                </a:cubicBezTo>
                <a:cubicBezTo>
                  <a:pt x="466432" y="2011986"/>
                  <a:pt x="460620" y="1983036"/>
                  <a:pt x="475309" y="1949986"/>
                </a:cubicBezTo>
                <a:cubicBezTo>
                  <a:pt x="364778" y="1957084"/>
                  <a:pt x="401863" y="1898574"/>
                  <a:pt x="365140" y="1872868"/>
                </a:cubicBezTo>
                <a:cubicBezTo>
                  <a:pt x="365486" y="1837429"/>
                  <a:pt x="365831" y="1801991"/>
                  <a:pt x="366177" y="1766552"/>
                </a:cubicBezTo>
                <a:cubicBezTo>
                  <a:pt x="382513" y="1731591"/>
                  <a:pt x="483156" y="1666683"/>
                  <a:pt x="512361" y="1638499"/>
                </a:cubicBezTo>
                <a:cubicBezTo>
                  <a:pt x="541567" y="1610315"/>
                  <a:pt x="536569" y="1604288"/>
                  <a:pt x="541410" y="1597446"/>
                </a:cubicBezTo>
                <a:lnTo>
                  <a:pt x="541410" y="1597446"/>
                </a:lnTo>
                <a:cubicBezTo>
                  <a:pt x="489998" y="1593774"/>
                  <a:pt x="356577" y="1651608"/>
                  <a:pt x="387174" y="1586429"/>
                </a:cubicBezTo>
                <a:cubicBezTo>
                  <a:pt x="456453" y="1495297"/>
                  <a:pt x="394519" y="1461571"/>
                  <a:pt x="398191" y="1399142"/>
                </a:cubicBezTo>
                <a:cubicBezTo>
                  <a:pt x="373851" y="1381126"/>
                  <a:pt x="316708" y="1404116"/>
                  <a:pt x="325172" y="1345095"/>
                </a:cubicBezTo>
                <a:lnTo>
                  <a:pt x="563444" y="1188290"/>
                </a:lnTo>
                <a:cubicBezTo>
                  <a:pt x="678405" y="1139364"/>
                  <a:pt x="2741078" y="331857"/>
                  <a:pt x="4463415" y="0"/>
                </a:cubicBezTo>
                <a:cubicBezTo>
                  <a:pt x="4559932" y="38074"/>
                  <a:pt x="4566239" y="190959"/>
                  <a:pt x="4617651" y="286439"/>
                </a:cubicBezTo>
                <a:lnTo>
                  <a:pt x="4672735" y="242371"/>
                </a:lnTo>
                <a:cubicBezTo>
                  <a:pt x="4713904" y="255776"/>
                  <a:pt x="4714069" y="301984"/>
                  <a:pt x="4734736" y="331791"/>
                </a:cubicBezTo>
                <a:lnTo>
                  <a:pt x="4790314" y="398139"/>
                </a:lnTo>
                <a:cubicBezTo>
                  <a:pt x="4795189" y="419662"/>
                  <a:pt x="4797717" y="440329"/>
                  <a:pt x="4804938" y="462709"/>
                </a:cubicBezTo>
                <a:cubicBezTo>
                  <a:pt x="4812159" y="485089"/>
                  <a:pt x="4824073" y="509181"/>
                  <a:pt x="4833641" y="532417"/>
                </a:cubicBezTo>
                <a:cubicBezTo>
                  <a:pt x="4787350" y="538559"/>
                  <a:pt x="4724065" y="536838"/>
                  <a:pt x="4694769" y="550843"/>
                </a:cubicBezTo>
                <a:cubicBezTo>
                  <a:pt x="4665473" y="564848"/>
                  <a:pt x="4653765" y="608249"/>
                  <a:pt x="4657865" y="616450"/>
                </a:cubicBezTo>
                <a:lnTo>
                  <a:pt x="4738836" y="661012"/>
                </a:lnTo>
                <a:cubicBezTo>
                  <a:pt x="4817403" y="657257"/>
                  <a:pt x="4904172" y="604298"/>
                  <a:pt x="4974538" y="649748"/>
                </a:cubicBezTo>
                <a:cubicBezTo>
                  <a:pt x="5036555" y="688513"/>
                  <a:pt x="5008363" y="760081"/>
                  <a:pt x="5025275" y="815248"/>
                </a:cubicBezTo>
                <a:lnTo>
                  <a:pt x="5068305" y="910299"/>
                </a:lnTo>
                <a:lnTo>
                  <a:pt x="4915106" y="969484"/>
                </a:lnTo>
                <a:cubicBezTo>
                  <a:pt x="4929795" y="991518"/>
                  <a:pt x="4915782" y="1017652"/>
                  <a:pt x="4959174" y="1035586"/>
                </a:cubicBezTo>
                <a:cubicBezTo>
                  <a:pt x="5184831" y="911898"/>
                  <a:pt x="5332579" y="931724"/>
                  <a:pt x="5377815" y="947451"/>
                </a:cubicBezTo>
                <a:cubicBezTo>
                  <a:pt x="5444097" y="1001679"/>
                  <a:pt x="5436572" y="1072308"/>
                  <a:pt x="5465950" y="1134737"/>
                </a:cubicBezTo>
                <a:lnTo>
                  <a:pt x="5311713" y="1211856"/>
                </a:lnTo>
                <a:lnTo>
                  <a:pt x="5322730" y="1266940"/>
                </a:lnTo>
                <a:cubicBezTo>
                  <a:pt x="5395073" y="1237562"/>
                  <a:pt x="5430511" y="1236886"/>
                  <a:pt x="5478251" y="1207508"/>
                </a:cubicBezTo>
                <a:cubicBezTo>
                  <a:pt x="5531803" y="1219365"/>
                  <a:pt x="5536151" y="1313231"/>
                  <a:pt x="5565101" y="1366092"/>
                </a:cubicBezTo>
                <a:cubicBezTo>
                  <a:pt x="5452298" y="1456549"/>
                  <a:pt x="5277987" y="1456795"/>
                  <a:pt x="5120079" y="1489845"/>
                </a:cubicBezTo>
                <a:cubicBezTo>
                  <a:pt x="5119733" y="1522814"/>
                  <a:pt x="5119388" y="1555782"/>
                  <a:pt x="5119042" y="1588751"/>
                </a:cubicBezTo>
                <a:lnTo>
                  <a:pt x="5182574" y="1604115"/>
                </a:lnTo>
                <a:cubicBezTo>
                  <a:pt x="5203587" y="1627598"/>
                  <a:pt x="5224854" y="1667606"/>
                  <a:pt x="5245612" y="1674564"/>
                </a:cubicBezTo>
                <a:cubicBezTo>
                  <a:pt x="5266370" y="1681522"/>
                  <a:pt x="5290552" y="1637109"/>
                  <a:pt x="5307119" y="1645861"/>
                </a:cubicBezTo>
                <a:cubicBezTo>
                  <a:pt x="5323686" y="1654613"/>
                  <a:pt x="5332381" y="1700006"/>
                  <a:pt x="5345012" y="1727079"/>
                </a:cubicBezTo>
                <a:lnTo>
                  <a:pt x="5434677" y="1793674"/>
                </a:lnTo>
                <a:cubicBezTo>
                  <a:pt x="5434084" y="1849450"/>
                  <a:pt x="5412990" y="1831419"/>
                  <a:pt x="5412397" y="1887195"/>
                </a:cubicBezTo>
                <a:cubicBezTo>
                  <a:pt x="5447687" y="1971164"/>
                  <a:pt x="5359964" y="1973123"/>
                  <a:pt x="5333747" y="2016087"/>
                </a:cubicBezTo>
                <a:lnTo>
                  <a:pt x="5373467" y="2149820"/>
                </a:lnTo>
                <a:cubicBezTo>
                  <a:pt x="4667992" y="2355040"/>
                  <a:pt x="3753395" y="2560260"/>
                  <a:pt x="2883902" y="2810585"/>
                </a:cubicBezTo>
                <a:cubicBezTo>
                  <a:pt x="1294065" y="3352108"/>
                  <a:pt x="1483821" y="3360572"/>
                  <a:pt x="783781" y="3635566"/>
                </a:cubicBezTo>
                <a:close/>
              </a:path>
            </a:pathLst>
          </a:custGeom>
          <a:solidFill>
            <a:schemeClr val="accent2"/>
          </a:solidFill>
          <a:ln>
            <a:noFill/>
          </a:ln>
          <a:effectLst>
            <a:outerShdw blurRad="63500" sx="102000" sy="102000" algn="ctr" rotWithShape="0">
              <a:prstClr val="black">
                <a:alpha val="40000"/>
              </a:prstClr>
            </a:outerShdw>
          </a:effectLst>
        </p:spPr>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DB Sans"/>
              <a:ea typeface="+mn-ea"/>
              <a:cs typeface="+mn-cs"/>
            </a:endParaRPr>
          </a:p>
        </p:txBody>
      </p:sp>
      <p:sp>
        <p:nvSpPr>
          <p:cNvPr id="148" name="Textfeld 147">
            <a:extLst>
              <a:ext uri="{FF2B5EF4-FFF2-40B4-BE49-F238E27FC236}">
                <a16:creationId xmlns:a16="http://schemas.microsoft.com/office/drawing/2014/main" id="{77547AE6-2F98-49D9-8130-9FED38BED2ED}"/>
              </a:ext>
            </a:extLst>
          </p:cNvPr>
          <p:cNvSpPr txBox="1"/>
          <p:nvPr/>
        </p:nvSpPr>
        <p:spPr>
          <a:xfrm rot="21072664">
            <a:off x="7561842" y="1151794"/>
            <a:ext cx="1883231" cy="288147"/>
          </a:xfrm>
          <a:prstGeom prst="rect">
            <a:avLst/>
          </a:prstGeom>
          <a:noFill/>
          <a:scene3d>
            <a:camera prst="orthographicFront">
              <a:rot lat="0" lon="0" rev="0"/>
            </a:camera>
            <a:lightRig rig="threePt" dir="t"/>
          </a:scene3d>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err="1">
                <a:ln>
                  <a:noFill/>
                </a:ln>
                <a:solidFill>
                  <a:prstClr val="white"/>
                </a:solidFill>
                <a:effectLst/>
                <a:uLnTx/>
                <a:uFillTx/>
                <a:latin typeface="DB Sans"/>
                <a:ea typeface="+mn-ea"/>
                <a:cs typeface="+mn-cs"/>
              </a:rPr>
              <a:t>Optimization</a:t>
            </a:r>
            <a:endParaRPr kumimoji="0" lang="de-DE" sz="1400" b="1" i="0" u="none" strike="noStrike" kern="1200" cap="none" spc="0" normalizeH="0" baseline="0" noProof="0">
              <a:ln>
                <a:noFill/>
              </a:ln>
              <a:solidFill>
                <a:prstClr val="white"/>
              </a:solidFill>
              <a:effectLst/>
              <a:uLnTx/>
              <a:uFillTx/>
              <a:latin typeface="DB Sans"/>
              <a:ea typeface="+mn-ea"/>
              <a:cs typeface="+mn-cs"/>
            </a:endParaRPr>
          </a:p>
        </p:txBody>
      </p:sp>
      <p:pic>
        <p:nvPicPr>
          <p:cNvPr id="67" name="Picture 10" descr="E:\Professional_Services\Fotodatenbanken\Fotolia_Deposit_gekaufte_Fotos\Empfehlung.png">
            <a:extLst>
              <a:ext uri="{FF2B5EF4-FFF2-40B4-BE49-F238E27FC236}">
                <a16:creationId xmlns:a16="http://schemas.microsoft.com/office/drawing/2014/main" id="{D4F4EE61-EA66-4898-978B-823E3A5654F5}"/>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181379" y="1406364"/>
            <a:ext cx="1369185" cy="489479"/>
          </a:xfrm>
          <a:prstGeom prst="rect">
            <a:avLst/>
          </a:prstGeom>
          <a:noFill/>
          <a:extLst>
            <a:ext uri="{909E8E84-426E-40DD-AFC4-6F175D3DCCD1}">
              <a14:hiddenFill xmlns:a14="http://schemas.microsoft.com/office/drawing/2010/main">
                <a:solidFill>
                  <a:srgbClr val="FFFFFF"/>
                </a:solidFill>
              </a14:hiddenFill>
            </a:ext>
          </a:extLst>
        </p:spPr>
      </p:pic>
      <p:sp>
        <p:nvSpPr>
          <p:cNvPr id="68" name="Textfeld 67">
            <a:extLst>
              <a:ext uri="{FF2B5EF4-FFF2-40B4-BE49-F238E27FC236}">
                <a16:creationId xmlns:a16="http://schemas.microsoft.com/office/drawing/2014/main" id="{38C68072-4D2B-40FA-8E25-B23373A82C0B}"/>
              </a:ext>
            </a:extLst>
          </p:cNvPr>
          <p:cNvSpPr txBox="1"/>
          <p:nvPr/>
        </p:nvSpPr>
        <p:spPr>
          <a:xfrm rot="21122065">
            <a:off x="173743" y="1454574"/>
            <a:ext cx="1389978" cy="323165"/>
          </a:xfrm>
          <a:prstGeom prst="rect">
            <a:avLst/>
          </a:prstGeom>
          <a:noFill/>
        </p:spPr>
        <p:txBody>
          <a:bodyPr wrap="square" lIns="0" tIns="0" rIns="0" bIns="0" rtlCol="0">
            <a:spAutoFit/>
          </a:bodyPr>
          <a:lstStyle>
            <a:defPPr>
              <a:defRPr lang="de-DE"/>
            </a:defPPr>
            <a:lvl1pPr algn="ctr">
              <a:defRPr sz="1050" b="1">
                <a:solidFill>
                  <a:schemeClr val="bg1">
                    <a:lumMod val="9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prstClr val="white">
                    <a:lumMod val="95000"/>
                  </a:prstClr>
                </a:solidFill>
                <a:effectLst/>
                <a:uLnTx/>
                <a:uFillTx/>
                <a:latin typeface="DB Sans"/>
                <a:ea typeface="+mn-ea"/>
                <a:cs typeface="+mn-cs"/>
              </a:rPr>
              <a:t>Normative </a:t>
            </a:r>
            <a:r>
              <a:rPr kumimoji="0" lang="de-DE" sz="1050" b="1" i="0" u="none" strike="noStrike" kern="1200" cap="none" spc="0" normalizeH="0" baseline="0" noProof="0" err="1">
                <a:ln>
                  <a:noFill/>
                </a:ln>
                <a:solidFill>
                  <a:prstClr val="white">
                    <a:lumMod val="95000"/>
                  </a:prstClr>
                </a:solidFill>
                <a:effectLst/>
                <a:uLnTx/>
                <a:uFillTx/>
                <a:latin typeface="DB Sans"/>
                <a:ea typeface="+mn-ea"/>
                <a:cs typeface="+mn-cs"/>
              </a:rPr>
              <a:t>Specifications</a:t>
            </a:r>
            <a:endParaRPr kumimoji="0" lang="de-DE" sz="1050" b="1" i="0" u="none" strike="noStrike" kern="1200" cap="none" spc="0" normalizeH="0" baseline="0" noProof="0">
              <a:ln>
                <a:noFill/>
              </a:ln>
              <a:solidFill>
                <a:prstClr val="white">
                  <a:lumMod val="95000"/>
                </a:prstClr>
              </a:solidFill>
              <a:effectLst/>
              <a:uLnTx/>
              <a:uFillTx/>
              <a:latin typeface="DB Sans"/>
              <a:ea typeface="+mn-ea"/>
              <a:cs typeface="+mn-cs"/>
            </a:endParaRPr>
          </a:p>
        </p:txBody>
      </p:sp>
    </p:spTree>
    <p:extLst>
      <p:ext uri="{BB962C8B-B14F-4D97-AF65-F5344CB8AC3E}">
        <p14:creationId xmlns:p14="http://schemas.microsoft.com/office/powerpoint/2010/main" val="2692446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1000"/>
                                        <p:tgtEl>
                                          <p:spTgt spid="36"/>
                                        </p:tgtEl>
                                      </p:cBhvr>
                                    </p:animEffect>
                                    <p:anim calcmode="lin" valueType="num">
                                      <p:cBhvr>
                                        <p:cTn id="20" dur="1000" fill="hold"/>
                                        <p:tgtEl>
                                          <p:spTgt spid="36"/>
                                        </p:tgtEl>
                                        <p:attrNameLst>
                                          <p:attrName>ppt_x</p:attrName>
                                        </p:attrNameLst>
                                      </p:cBhvr>
                                      <p:tavLst>
                                        <p:tav tm="0">
                                          <p:val>
                                            <p:strVal val="#ppt_x"/>
                                          </p:val>
                                        </p:tav>
                                        <p:tav tm="100000">
                                          <p:val>
                                            <p:strVal val="#ppt_x"/>
                                          </p:val>
                                        </p:tav>
                                      </p:tavLst>
                                    </p:anim>
                                    <p:anim calcmode="lin" valueType="num">
                                      <p:cBhvr>
                                        <p:cTn id="21" dur="1000" fill="hold"/>
                                        <p:tgtEl>
                                          <p:spTgt spid="36"/>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1000"/>
                                        <p:tgtEl>
                                          <p:spTgt spid="99"/>
                                        </p:tgtEl>
                                      </p:cBhvr>
                                    </p:animEffect>
                                    <p:anim calcmode="lin" valueType="num">
                                      <p:cBhvr>
                                        <p:cTn id="25" dur="1000" fill="hold"/>
                                        <p:tgtEl>
                                          <p:spTgt spid="99"/>
                                        </p:tgtEl>
                                        <p:attrNameLst>
                                          <p:attrName>ppt_x</p:attrName>
                                        </p:attrNameLst>
                                      </p:cBhvr>
                                      <p:tavLst>
                                        <p:tav tm="0">
                                          <p:val>
                                            <p:strVal val="#ppt_x"/>
                                          </p:val>
                                        </p:tav>
                                        <p:tav tm="100000">
                                          <p:val>
                                            <p:strVal val="#ppt_x"/>
                                          </p:val>
                                        </p:tav>
                                      </p:tavLst>
                                    </p:anim>
                                    <p:anim calcmode="lin" valueType="num">
                                      <p:cBhvr>
                                        <p:cTn id="26" dur="1000" fill="hold"/>
                                        <p:tgtEl>
                                          <p:spTgt spid="99"/>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00"/>
                                        </p:tgtEl>
                                        <p:attrNameLst>
                                          <p:attrName>style.visibility</p:attrName>
                                        </p:attrNameLst>
                                      </p:cBhvr>
                                      <p:to>
                                        <p:strVal val="visible"/>
                                      </p:to>
                                    </p:set>
                                    <p:animEffect transition="in" filter="fade">
                                      <p:cBhvr>
                                        <p:cTn id="29" dur="1000"/>
                                        <p:tgtEl>
                                          <p:spTgt spid="100"/>
                                        </p:tgtEl>
                                      </p:cBhvr>
                                    </p:animEffect>
                                    <p:anim calcmode="lin" valueType="num">
                                      <p:cBhvr>
                                        <p:cTn id="30" dur="1000" fill="hold"/>
                                        <p:tgtEl>
                                          <p:spTgt spid="100"/>
                                        </p:tgtEl>
                                        <p:attrNameLst>
                                          <p:attrName>ppt_x</p:attrName>
                                        </p:attrNameLst>
                                      </p:cBhvr>
                                      <p:tavLst>
                                        <p:tav tm="0">
                                          <p:val>
                                            <p:strVal val="#ppt_x"/>
                                          </p:val>
                                        </p:tav>
                                        <p:tav tm="100000">
                                          <p:val>
                                            <p:strVal val="#ppt_x"/>
                                          </p:val>
                                        </p:tav>
                                      </p:tavLst>
                                    </p:anim>
                                    <p:anim calcmode="lin" valueType="num">
                                      <p:cBhvr>
                                        <p:cTn id="31" dur="1000" fill="hold"/>
                                        <p:tgtEl>
                                          <p:spTgt spid="10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06"/>
                                        </p:tgtEl>
                                        <p:attrNameLst>
                                          <p:attrName>style.visibility</p:attrName>
                                        </p:attrNameLst>
                                      </p:cBhvr>
                                      <p:to>
                                        <p:strVal val="visible"/>
                                      </p:to>
                                    </p:set>
                                    <p:animEffect transition="in" filter="fade">
                                      <p:cBhvr>
                                        <p:cTn id="34" dur="1000"/>
                                        <p:tgtEl>
                                          <p:spTgt spid="106"/>
                                        </p:tgtEl>
                                      </p:cBhvr>
                                    </p:animEffect>
                                    <p:anim calcmode="lin" valueType="num">
                                      <p:cBhvr>
                                        <p:cTn id="35" dur="1000" fill="hold"/>
                                        <p:tgtEl>
                                          <p:spTgt spid="106"/>
                                        </p:tgtEl>
                                        <p:attrNameLst>
                                          <p:attrName>ppt_x</p:attrName>
                                        </p:attrNameLst>
                                      </p:cBhvr>
                                      <p:tavLst>
                                        <p:tav tm="0">
                                          <p:val>
                                            <p:strVal val="#ppt_x"/>
                                          </p:val>
                                        </p:tav>
                                        <p:tav tm="100000">
                                          <p:val>
                                            <p:strVal val="#ppt_x"/>
                                          </p:val>
                                        </p:tav>
                                      </p:tavLst>
                                    </p:anim>
                                    <p:anim calcmode="lin" valueType="num">
                                      <p:cBhvr>
                                        <p:cTn id="36" dur="1000" fill="hold"/>
                                        <p:tgtEl>
                                          <p:spTgt spid="106"/>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07"/>
                                        </p:tgtEl>
                                        <p:attrNameLst>
                                          <p:attrName>style.visibility</p:attrName>
                                        </p:attrNameLst>
                                      </p:cBhvr>
                                      <p:to>
                                        <p:strVal val="visible"/>
                                      </p:to>
                                    </p:set>
                                    <p:animEffect transition="in" filter="fade">
                                      <p:cBhvr>
                                        <p:cTn id="39" dur="1000"/>
                                        <p:tgtEl>
                                          <p:spTgt spid="107"/>
                                        </p:tgtEl>
                                      </p:cBhvr>
                                    </p:animEffect>
                                    <p:anim calcmode="lin" valueType="num">
                                      <p:cBhvr>
                                        <p:cTn id="40" dur="1000" fill="hold"/>
                                        <p:tgtEl>
                                          <p:spTgt spid="107"/>
                                        </p:tgtEl>
                                        <p:attrNameLst>
                                          <p:attrName>ppt_x</p:attrName>
                                        </p:attrNameLst>
                                      </p:cBhvr>
                                      <p:tavLst>
                                        <p:tav tm="0">
                                          <p:val>
                                            <p:strVal val="#ppt_x"/>
                                          </p:val>
                                        </p:tav>
                                        <p:tav tm="100000">
                                          <p:val>
                                            <p:strVal val="#ppt_x"/>
                                          </p:val>
                                        </p:tav>
                                      </p:tavLst>
                                    </p:anim>
                                    <p:anim calcmode="lin" valueType="num">
                                      <p:cBhvr>
                                        <p:cTn id="41" dur="1000" fill="hold"/>
                                        <p:tgtEl>
                                          <p:spTgt spid="107"/>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1000"/>
                                        <p:tgtEl>
                                          <p:spTgt spid="28"/>
                                        </p:tgtEl>
                                      </p:cBhvr>
                                    </p:animEffect>
                                    <p:anim calcmode="lin" valueType="num">
                                      <p:cBhvr>
                                        <p:cTn id="45" dur="1000" fill="hold"/>
                                        <p:tgtEl>
                                          <p:spTgt spid="28"/>
                                        </p:tgtEl>
                                        <p:attrNameLst>
                                          <p:attrName>ppt_x</p:attrName>
                                        </p:attrNameLst>
                                      </p:cBhvr>
                                      <p:tavLst>
                                        <p:tav tm="0">
                                          <p:val>
                                            <p:strVal val="#ppt_x"/>
                                          </p:val>
                                        </p:tav>
                                        <p:tav tm="100000">
                                          <p:val>
                                            <p:strVal val="#ppt_x"/>
                                          </p:val>
                                        </p:tav>
                                      </p:tavLst>
                                    </p:anim>
                                    <p:anim calcmode="lin" valueType="num">
                                      <p:cBhvr>
                                        <p:cTn id="46" dur="1000" fill="hold"/>
                                        <p:tgtEl>
                                          <p:spTgt spid="28"/>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fade">
                                      <p:cBhvr>
                                        <p:cTn id="49" dur="1000"/>
                                        <p:tgtEl>
                                          <p:spTgt spid="23"/>
                                        </p:tgtEl>
                                      </p:cBhvr>
                                    </p:animEffect>
                                    <p:anim calcmode="lin" valueType="num">
                                      <p:cBhvr>
                                        <p:cTn id="50" dur="1000" fill="hold"/>
                                        <p:tgtEl>
                                          <p:spTgt spid="23"/>
                                        </p:tgtEl>
                                        <p:attrNameLst>
                                          <p:attrName>ppt_x</p:attrName>
                                        </p:attrNameLst>
                                      </p:cBhvr>
                                      <p:tavLst>
                                        <p:tav tm="0">
                                          <p:val>
                                            <p:strVal val="#ppt_x"/>
                                          </p:val>
                                        </p:tav>
                                        <p:tav tm="100000">
                                          <p:val>
                                            <p:strVal val="#ppt_x"/>
                                          </p:val>
                                        </p:tav>
                                      </p:tavLst>
                                    </p:anim>
                                    <p:anim calcmode="lin" valueType="num">
                                      <p:cBhvr>
                                        <p:cTn id="51" dur="1000" fill="hold"/>
                                        <p:tgtEl>
                                          <p:spTgt spid="23"/>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1000"/>
                                        <p:tgtEl>
                                          <p:spTgt spid="24"/>
                                        </p:tgtEl>
                                      </p:cBhvr>
                                    </p:animEffect>
                                    <p:anim calcmode="lin" valueType="num">
                                      <p:cBhvr>
                                        <p:cTn id="55" dur="1000" fill="hold"/>
                                        <p:tgtEl>
                                          <p:spTgt spid="24"/>
                                        </p:tgtEl>
                                        <p:attrNameLst>
                                          <p:attrName>ppt_x</p:attrName>
                                        </p:attrNameLst>
                                      </p:cBhvr>
                                      <p:tavLst>
                                        <p:tav tm="0">
                                          <p:val>
                                            <p:strVal val="#ppt_x"/>
                                          </p:val>
                                        </p:tav>
                                        <p:tav tm="100000">
                                          <p:val>
                                            <p:strVal val="#ppt_x"/>
                                          </p:val>
                                        </p:tav>
                                      </p:tavLst>
                                    </p:anim>
                                    <p:anim calcmode="lin" valueType="num">
                                      <p:cBhvr>
                                        <p:cTn id="56"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2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2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1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8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0"/>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5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5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6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61"/>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2"/>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63"/>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6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70"/>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38"/>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39"/>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24"/>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47"/>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48"/>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130"/>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29"/>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123"/>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42"/>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40"/>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41"/>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1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82" grpId="0" animBg="1"/>
      <p:bldP spid="127" grpId="0" animBg="1"/>
      <p:bldP spid="36" grpId="0" animBg="1"/>
      <p:bldP spid="50" grpId="0" animBg="1"/>
      <p:bldP spid="51" grpId="0" animBg="1"/>
      <p:bldP spid="57" grpId="0" animBg="1"/>
      <p:bldP spid="58" grpId="0" animBg="1"/>
      <p:bldP spid="59" grpId="0" animBg="1"/>
      <p:bldP spid="60" grpId="0" animBg="1"/>
      <p:bldP spid="61" grpId="0" animBg="1"/>
      <p:bldP spid="62" grpId="0" animBg="1"/>
      <p:bldP spid="63" grpId="0" animBg="1"/>
      <p:bldP spid="64" grpId="0" animBg="1"/>
      <p:bldP spid="106" grpId="0"/>
      <p:bldP spid="107" grpId="0" animBg="1"/>
      <p:bldP spid="24" grpId="0"/>
      <p:bldP spid="119" grpId="0" animBg="1"/>
      <p:bldP spid="130" grpId="0" animBg="1"/>
      <p:bldP spid="140" grpId="0" animBg="1"/>
      <p:bldP spid="141" grpId="0" animBg="1"/>
      <p:bldP spid="142" grpId="0" animBg="1"/>
      <p:bldP spid="143" grpId="0" animBg="1"/>
      <p:bldP spid="144" grpId="0" animBg="1"/>
      <p:bldP spid="147" grpId="0" animBg="1"/>
      <p:bldP spid="148" grpId="0"/>
      <p:bldP spid="6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p:cNvSpPr>
            <a:spLocks noGrp="1"/>
          </p:cNvSpPr>
          <p:nvPr>
            <p:ph type="title"/>
          </p:nvPr>
        </p:nvSpPr>
        <p:spPr>
          <a:xfrm>
            <a:off x="371474" y="296695"/>
            <a:ext cx="10477054" cy="736639"/>
          </a:xfrm>
        </p:spPr>
        <p:txBody>
          <a:bodyPr/>
          <a:lstStyle/>
          <a:p>
            <a:r>
              <a:rPr lang="en-US" b="1" kern="1200">
                <a:solidFill>
                  <a:schemeClr val="tx1"/>
                </a:solidFill>
                <a:latin typeface="+mn-lt"/>
              </a:rPr>
              <a:t>Safety culture in everyday life: Attentiveness towards one's own performance</a:t>
            </a:r>
            <a:endParaRPr lang="de-DE" b="1" kern="1200">
              <a:solidFill>
                <a:schemeClr val="tx1"/>
              </a:solidFill>
              <a:latin typeface="+mn-lt"/>
            </a:endParaRPr>
          </a:p>
        </p:txBody>
      </p:sp>
      <p:sp>
        <p:nvSpPr>
          <p:cNvPr id="6" name="AutoShape 13"/>
          <p:cNvSpPr>
            <a:spLocks noChangeArrowheads="1"/>
          </p:cNvSpPr>
          <p:nvPr>
            <p:custDataLst>
              <p:tags r:id="rId2"/>
            </p:custDataLst>
          </p:nvPr>
        </p:nvSpPr>
        <p:spPr bwMode="auto">
          <a:xfrm>
            <a:off x="911424" y="1358277"/>
            <a:ext cx="8425025" cy="1107996"/>
          </a:xfrm>
          <a:prstGeom prst="wedgeRectCallout">
            <a:avLst>
              <a:gd name="adj1" fmla="val 69250"/>
              <a:gd name="adj2" fmla="val -60485"/>
            </a:avLst>
          </a:prstGeom>
          <a:solidFill>
            <a:srgbClr val="EAEAEA"/>
          </a:solidFill>
          <a:ln w="2857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Being prepared starts before the shift. Be fit and rested. Be aware that a whole range of factors influence your performance at work. Let's look at the following scale!</a:t>
            </a:r>
          </a:p>
        </p:txBody>
      </p:sp>
      <p:sp>
        <p:nvSpPr>
          <p:cNvPr id="9" name="Oval 5"/>
          <p:cNvSpPr/>
          <p:nvPr>
            <p:custDataLst>
              <p:tags r:id="rId3"/>
            </p:custDataLst>
          </p:nvPr>
        </p:nvSpPr>
        <p:spPr>
          <a:xfrm>
            <a:off x="1055440" y="2773340"/>
            <a:ext cx="1066800" cy="10287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DB Sans"/>
                <a:ea typeface="Arial"/>
                <a:cs typeface="Times New Roman"/>
              </a:rPr>
              <a:t>GREEN</a:t>
            </a:r>
            <a:endParaRPr kumimoji="0" lang="de-DE" sz="1200" b="0" i="0" u="none" strike="noStrike" kern="1200" cap="none" spc="0" normalizeH="0" baseline="0" noProof="0">
              <a:ln>
                <a:noFill/>
              </a:ln>
              <a:solidFill>
                <a:prstClr val="white"/>
              </a:solidFill>
              <a:effectLst/>
              <a:uLnTx/>
              <a:uFillTx/>
              <a:latin typeface="DB Sans"/>
              <a:ea typeface="Arial"/>
              <a:cs typeface="Times New Roman"/>
            </a:endParaRPr>
          </a:p>
        </p:txBody>
      </p:sp>
      <p:sp>
        <p:nvSpPr>
          <p:cNvPr id="11" name="Oval 7"/>
          <p:cNvSpPr/>
          <p:nvPr>
            <p:custDataLst>
              <p:tags r:id="rId4"/>
            </p:custDataLst>
          </p:nvPr>
        </p:nvSpPr>
        <p:spPr>
          <a:xfrm>
            <a:off x="1064965" y="4067021"/>
            <a:ext cx="1047750" cy="10001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DB Sans"/>
                <a:ea typeface="Arial"/>
                <a:cs typeface="Times New Roman"/>
              </a:rPr>
              <a:t>YELLOW</a:t>
            </a:r>
            <a:endParaRPr kumimoji="0" lang="de-DE" sz="1200" b="0" i="0" u="none" strike="noStrike" kern="1200" cap="none" spc="0" normalizeH="0" baseline="0" noProof="0">
              <a:ln>
                <a:noFill/>
              </a:ln>
              <a:solidFill>
                <a:prstClr val="white"/>
              </a:solidFill>
              <a:effectLst/>
              <a:uLnTx/>
              <a:uFillTx/>
              <a:latin typeface="DB Sans"/>
              <a:ea typeface="Arial"/>
              <a:cs typeface="Times New Roman"/>
            </a:endParaRPr>
          </a:p>
        </p:txBody>
      </p:sp>
      <p:sp>
        <p:nvSpPr>
          <p:cNvPr id="12" name="Oval 8"/>
          <p:cNvSpPr/>
          <p:nvPr>
            <p:custDataLst>
              <p:tags r:id="rId5"/>
            </p:custDataLst>
          </p:nvPr>
        </p:nvSpPr>
        <p:spPr>
          <a:xfrm>
            <a:off x="1064965" y="5332126"/>
            <a:ext cx="1047750" cy="10001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DB Sans"/>
                <a:ea typeface="Arial"/>
                <a:cs typeface="Times New Roman"/>
              </a:rPr>
              <a:t>    RED</a:t>
            </a:r>
            <a:endParaRPr kumimoji="0" lang="de-DE" sz="1200" b="0" i="0" u="none" strike="noStrike" kern="1200" cap="none" spc="0" normalizeH="0" baseline="0" noProof="0">
              <a:ln>
                <a:noFill/>
              </a:ln>
              <a:solidFill>
                <a:prstClr val="white"/>
              </a:solidFill>
              <a:effectLst/>
              <a:uLnTx/>
              <a:uFillTx/>
              <a:latin typeface="DB Sans"/>
              <a:ea typeface="Arial"/>
              <a:cs typeface="Times New Roman"/>
            </a:endParaRPr>
          </a:p>
        </p:txBody>
      </p:sp>
      <p:sp>
        <p:nvSpPr>
          <p:cNvPr id="4" name="Textfeld 3"/>
          <p:cNvSpPr txBox="1"/>
          <p:nvPr/>
        </p:nvSpPr>
        <p:spPr>
          <a:xfrm>
            <a:off x="2810214" y="3015392"/>
            <a:ext cx="6423238"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No known problems or stresses at home or at work, you can concentrate well on work-related tasks. You are well rested. </a:t>
            </a:r>
          </a:p>
        </p:txBody>
      </p:sp>
      <p:sp>
        <p:nvSpPr>
          <p:cNvPr id="5" name="Rechteck 4"/>
          <p:cNvSpPr/>
          <p:nvPr/>
        </p:nvSpPr>
        <p:spPr>
          <a:xfrm>
            <a:off x="2810214" y="4008860"/>
            <a:ext cx="8038314"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Minor problems or stresses that distract you during periods of underloaded activity, such as driving along without restrictive signals. If breaks have not allowed you to recover sufficiently, monitor your performance and take action.</a:t>
            </a:r>
            <a:endParaRPr kumimoji="0" lang="de-DE" sz="1800" b="0" i="0" u="none" strike="noStrike" kern="1200" cap="none" spc="0" normalizeH="0" baseline="0" noProof="0">
              <a:ln>
                <a:noFill/>
              </a:ln>
              <a:solidFill>
                <a:prstClr val="black"/>
              </a:solidFill>
              <a:effectLst/>
              <a:uLnTx/>
              <a:uFillTx/>
              <a:latin typeface="DB Sans"/>
              <a:ea typeface="+mn-ea"/>
              <a:cs typeface="+mn-cs"/>
            </a:endParaRPr>
          </a:p>
        </p:txBody>
      </p:sp>
      <p:sp>
        <p:nvSpPr>
          <p:cNvPr id="14" name="Textfeld 13"/>
          <p:cNvSpPr txBox="1"/>
          <p:nvPr/>
        </p:nvSpPr>
        <p:spPr>
          <a:xfrm>
            <a:off x="2810215" y="5441797"/>
            <a:ext cx="7900179"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B Sans"/>
                <a:ea typeface="+mn-ea"/>
                <a:cs typeface="+mn-cs"/>
              </a:rPr>
              <a:t>Severe fatigue (unable to stay awake) or serious problems that stress you and distract you constantly, even during periods of demanding activity such as braking towards station stops or buffer stops. </a:t>
            </a:r>
          </a:p>
        </p:txBody>
      </p:sp>
      <p:sp>
        <p:nvSpPr>
          <p:cNvPr id="13" name="Fußzeilenplatzhalter 12">
            <a:extLst>
              <a:ext uri="{FF2B5EF4-FFF2-40B4-BE49-F238E27FC236}">
                <a16:creationId xmlns:a16="http://schemas.microsoft.com/office/drawing/2014/main" id="{EE8FB2AB-55A7-4C18-9001-5000AF592FD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prstClr val="black"/>
                </a:solidFill>
                <a:effectLst/>
                <a:uLnTx/>
                <a:uFillTx/>
                <a:latin typeface="DB Sans"/>
                <a:ea typeface="+mn-ea"/>
                <a:cs typeface="+mn-cs"/>
              </a:rPr>
              <a:t>© DB Regio AG | R.RBE Eisenbahnbetriebsleiter</a:t>
            </a:r>
          </a:p>
        </p:txBody>
      </p:sp>
      <p:sp>
        <p:nvSpPr>
          <p:cNvPr id="16" name="Foliennummernplatzhalter 15">
            <a:extLst>
              <a:ext uri="{FF2B5EF4-FFF2-40B4-BE49-F238E27FC236}">
                <a16:creationId xmlns:a16="http://schemas.microsoft.com/office/drawing/2014/main" id="{52F3DA44-E622-432F-B122-3AFBAC58F5F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D9F7D-0C28-4C21-AA99-7C67E34F632A}" type="slidenum">
              <a:rPr kumimoji="0" lang="de-DE" sz="1000" b="1" i="0" u="none" strike="noStrike" kern="1200" cap="none" spc="0" normalizeH="0" baseline="0" noProof="0" smtClean="0">
                <a:ln>
                  <a:noFill/>
                </a:ln>
                <a:solidFill>
                  <a:prstClr val="black"/>
                </a:solidFill>
                <a:effectLst/>
                <a:uLnTx/>
                <a:uFillTx/>
                <a:latin typeface="DB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000" b="1" i="0" u="none" strike="noStrike" kern="1200" cap="none" spc="0" normalizeH="0" baseline="0" noProof="0">
              <a:ln>
                <a:noFill/>
              </a:ln>
              <a:solidFill>
                <a:prstClr val="black"/>
              </a:solidFill>
              <a:effectLst/>
              <a:uLnTx/>
              <a:uFillTx/>
              <a:latin typeface="DB Sans"/>
              <a:ea typeface="+mn-ea"/>
              <a:cs typeface="+mn-cs"/>
            </a:endParaRPr>
          </a:p>
        </p:txBody>
      </p:sp>
      <p:pic>
        <p:nvPicPr>
          <p:cNvPr id="3" name="Grafik 2" descr="Ein Bild, das Text, ClipArt enthält.&#10;&#10;Automatisch generierte Beschreibung">
            <a:extLst>
              <a:ext uri="{FF2B5EF4-FFF2-40B4-BE49-F238E27FC236}">
                <a16:creationId xmlns:a16="http://schemas.microsoft.com/office/drawing/2014/main" id="{C7C86D67-0489-4953-ADF0-0CDFDCB58AC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10394" y="1029589"/>
            <a:ext cx="899110" cy="2654329"/>
          </a:xfrm>
          <a:prstGeom prst="rect">
            <a:avLst/>
          </a:prstGeom>
        </p:spPr>
      </p:pic>
    </p:spTree>
    <p:custDataLst>
      <p:tags r:id="rId1"/>
    </p:custDataLst>
    <p:extLst>
      <p:ext uri="{BB962C8B-B14F-4D97-AF65-F5344CB8AC3E}">
        <p14:creationId xmlns:p14="http://schemas.microsoft.com/office/powerpoint/2010/main" val="2080508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ASYCOUNT" val=";72."/>
</p:tagLst>
</file>

<file path=ppt/tags/tag11.xml><?xml version="1.0" encoding="utf-8"?>
<p:tagLst xmlns:a="http://schemas.openxmlformats.org/drawingml/2006/main" xmlns:r="http://schemas.openxmlformats.org/officeDocument/2006/relationships" xmlns:p="http://schemas.openxmlformats.org/presentationml/2006/main">
  <p:tag name="EASYCOUNT" val=";71."/>
</p:tagLst>
</file>

<file path=ppt/tags/tag12.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13.xml><?xml version="1.0" encoding="utf-8"?>
<p:tagLst xmlns:a="http://schemas.openxmlformats.org/drawingml/2006/main" xmlns:r="http://schemas.openxmlformats.org/officeDocument/2006/relationships" xmlns:p="http://schemas.openxmlformats.org/presentationml/2006/main">
  <p:tag name="BREITE" val="150"/>
  <p:tag name="HOEHE" val="150"/>
  <p:tag name="ICONSECONDCOLOR" val="16777215"/>
</p:tagLst>
</file>

<file path=ppt/tags/tag14.xml><?xml version="1.0" encoding="utf-8"?>
<p:tagLst xmlns:a="http://schemas.openxmlformats.org/drawingml/2006/main" xmlns:r="http://schemas.openxmlformats.org/officeDocument/2006/relationships" xmlns:p="http://schemas.openxmlformats.org/presentationml/2006/main">
  <p:tag name="BREITE" val="294,6813"/>
  <p:tag name="HOEHE" val="86,73888"/>
</p:tagLst>
</file>

<file path=ppt/tags/tag15.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16.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17.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18.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19.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ASYCHECK" val=";OWFC"/>
</p:tagLst>
</file>

<file path=ppt/tags/tag21.xml><?xml version="1.0" encoding="utf-8"?>
<p:tagLst xmlns:a="http://schemas.openxmlformats.org/drawingml/2006/main" xmlns:r="http://schemas.openxmlformats.org/officeDocument/2006/relationships" xmlns:p="http://schemas.openxmlformats.org/presentationml/2006/main">
  <p:tag name="AUTOSHAPETYPE" val="1"/>
</p:tagLst>
</file>

<file path=ppt/tags/tag22.xml><?xml version="1.0" encoding="utf-8"?>
<p:tagLst xmlns:a="http://schemas.openxmlformats.org/drawingml/2006/main" xmlns:r="http://schemas.openxmlformats.org/officeDocument/2006/relationships" xmlns:p="http://schemas.openxmlformats.org/presentationml/2006/main">
  <p:tag name="EASYCOUNT" val=";144.;145.;146.;147.;148.;149.;150.;151.;152.;153.;154.;155.;156."/>
</p:tagLst>
</file>

<file path=ppt/tags/tag23.xml><?xml version="1.0" encoding="utf-8"?>
<p:tagLst xmlns:a="http://schemas.openxmlformats.org/drawingml/2006/main" xmlns:r="http://schemas.openxmlformats.org/officeDocument/2006/relationships" xmlns:p="http://schemas.openxmlformats.org/presentationml/2006/main">
  <p:tag name="EASYCOUNT" val=";144.;145."/>
</p:tagLst>
</file>

<file path=ppt/tags/tag24.xml><?xml version="1.0" encoding="utf-8"?>
<p:tagLst xmlns:a="http://schemas.openxmlformats.org/drawingml/2006/main" xmlns:r="http://schemas.openxmlformats.org/officeDocument/2006/relationships" xmlns:p="http://schemas.openxmlformats.org/presentationml/2006/main">
  <p:tag name="EASYCOUNT" val=";148.;149.;150."/>
</p:tagLst>
</file>

<file path=ppt/tags/tag25.xml><?xml version="1.0" encoding="utf-8"?>
<p:tagLst xmlns:a="http://schemas.openxmlformats.org/drawingml/2006/main" xmlns:r="http://schemas.openxmlformats.org/officeDocument/2006/relationships" xmlns:p="http://schemas.openxmlformats.org/presentationml/2006/main">
  <p:tag name="EASYCOUNT" val=";151.;152."/>
</p:tagLst>
</file>

<file path=ppt/tags/tag26.xml><?xml version="1.0" encoding="utf-8"?>
<p:tagLst xmlns:a="http://schemas.openxmlformats.org/drawingml/2006/main" xmlns:r="http://schemas.openxmlformats.org/officeDocument/2006/relationships" xmlns:p="http://schemas.openxmlformats.org/presentationml/2006/main">
  <p:tag name="EASYCOUNT" val=";153.;154.;155.;156."/>
</p:tagLst>
</file>

<file path=ppt/tags/tag27.xml><?xml version="1.0" encoding="utf-8"?>
<p:tagLst xmlns:a="http://schemas.openxmlformats.org/drawingml/2006/main" xmlns:r="http://schemas.openxmlformats.org/officeDocument/2006/relationships" xmlns:p="http://schemas.openxmlformats.org/presentationml/2006/main">
  <p:tag name="BREITE" val="188,4411"/>
  <p:tag name="HOEHE" val="53,42305"/>
</p:tagLst>
</file>

<file path=ppt/tags/tag28.xml><?xml version="1.0" encoding="utf-8"?>
<p:tagLst xmlns:a="http://schemas.openxmlformats.org/drawingml/2006/main" xmlns:r="http://schemas.openxmlformats.org/officeDocument/2006/relationships" xmlns:p="http://schemas.openxmlformats.org/presentationml/2006/main">
  <p:tag name="BREITE" val="188,4411"/>
  <p:tag name="HOEHE" val="53,42305"/>
</p:tagLst>
</file>

<file path=ppt/tags/tag29.xml><?xml version="1.0" encoding="utf-8"?>
<p:tagLst xmlns:a="http://schemas.openxmlformats.org/drawingml/2006/main" xmlns:r="http://schemas.openxmlformats.org/officeDocument/2006/relationships" xmlns:p="http://schemas.openxmlformats.org/presentationml/2006/main">
  <p:tag name="BREITE" val="188,4411"/>
  <p:tag name="HOEHE" val="53,42305"/>
</p:tagLst>
</file>

<file path=ppt/tags/tag3.xml><?xml version="1.0" encoding="utf-8"?>
<p:tagLst xmlns:a="http://schemas.openxmlformats.org/drawingml/2006/main" xmlns:r="http://schemas.openxmlformats.org/officeDocument/2006/relationships" xmlns:p="http://schemas.openxmlformats.org/presentationml/2006/main">
  <p:tag name="BREITE" val="548,5663"/>
  <p:tag name="HOEHE" val="133,8753"/>
</p:tagLst>
</file>

<file path=ppt/tags/tag30.xml><?xml version="1.0" encoding="utf-8"?>
<p:tagLst xmlns:a="http://schemas.openxmlformats.org/drawingml/2006/main" xmlns:r="http://schemas.openxmlformats.org/officeDocument/2006/relationships" xmlns:p="http://schemas.openxmlformats.org/presentationml/2006/main">
  <p:tag name="BREITE" val="188,4411"/>
  <p:tag name="HOEHE" val="53,42305"/>
</p:tagLst>
</file>

<file path=ppt/tags/tag31.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32.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33.xml><?xml version="1.0" encoding="utf-8"?>
<p:tagLst xmlns:a="http://schemas.openxmlformats.org/drawingml/2006/main" xmlns:r="http://schemas.openxmlformats.org/officeDocument/2006/relationships" xmlns:p="http://schemas.openxmlformats.org/presentationml/2006/main">
  <p:tag name="BREITE" val="1181,102"/>
  <p:tag name="HOEHE" val="1181,102"/>
  <p:tag name="ICONSECONDCOLOR" val="16777215"/>
</p:tagLst>
</file>

<file path=ppt/tags/tag34.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35.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36.xml><?xml version="1.0" encoding="utf-8"?>
<p:tagLst xmlns:a="http://schemas.openxmlformats.org/drawingml/2006/main" xmlns:r="http://schemas.openxmlformats.org/officeDocument/2006/relationships" xmlns:p="http://schemas.openxmlformats.org/presentationml/2006/main">
  <p:tag name="BREITE" val="188,4411"/>
  <p:tag name="HOEHE" val="53,42305"/>
</p:tagLst>
</file>

<file path=ppt/tags/tag37.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38.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39.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4.xml><?xml version="1.0" encoding="utf-8"?>
<p:tagLst xmlns:a="http://schemas.openxmlformats.org/drawingml/2006/main" xmlns:r="http://schemas.openxmlformats.org/officeDocument/2006/relationships" xmlns:p="http://schemas.openxmlformats.org/presentationml/2006/main">
  <p:tag name="BREITE" val="449,7836"/>
  <p:tag name="HOEHE" val="179,9333"/>
</p:tagLst>
</file>

<file path=ppt/tags/tag40.xml><?xml version="1.0" encoding="utf-8"?>
<p:tagLst xmlns:a="http://schemas.openxmlformats.org/drawingml/2006/main" xmlns:r="http://schemas.openxmlformats.org/officeDocument/2006/relationships" xmlns:p="http://schemas.openxmlformats.org/presentationml/2006/main">
  <p:tag name="BREITE" val="49,99999"/>
  <p:tag name="HOEHE" val="180"/>
</p:tagLst>
</file>

<file path=ppt/tags/tag41.xml><?xml version="1.0" encoding="utf-8"?>
<p:tagLst xmlns:a="http://schemas.openxmlformats.org/drawingml/2006/main" xmlns:r="http://schemas.openxmlformats.org/officeDocument/2006/relationships" xmlns:p="http://schemas.openxmlformats.org/presentationml/2006/main">
  <p:tag name="ISAUTOSHAPE" val="1"/>
  <p:tag name="EASYCOUNT" val=";169.;170.;171."/>
</p:tagLst>
</file>

<file path=ppt/tags/tag42.xml><?xml version="1.0" encoding="utf-8"?>
<p:tagLst xmlns:a="http://schemas.openxmlformats.org/drawingml/2006/main" xmlns:r="http://schemas.openxmlformats.org/officeDocument/2006/relationships" xmlns:p="http://schemas.openxmlformats.org/presentationml/2006/main">
  <p:tag name="EASYCOUNT" val=";172.;173."/>
</p:tagLst>
</file>

<file path=ppt/tags/tag43.xml><?xml version="1.0" encoding="utf-8"?>
<p:tagLst xmlns:a="http://schemas.openxmlformats.org/drawingml/2006/main" xmlns:r="http://schemas.openxmlformats.org/officeDocument/2006/relationships" xmlns:p="http://schemas.openxmlformats.org/presentationml/2006/main">
  <p:tag name="EASYCOUNT" val=";174.;175."/>
</p:tagLst>
</file>

<file path=ppt/tags/tag44.xml><?xml version="1.0" encoding="utf-8"?>
<p:tagLst xmlns:a="http://schemas.openxmlformats.org/drawingml/2006/main" xmlns:r="http://schemas.openxmlformats.org/officeDocument/2006/relationships" xmlns:p="http://schemas.openxmlformats.org/presentationml/2006/main">
  <p:tag name="EASYCOUNT" val=";176.;177."/>
</p:tagLst>
</file>

<file path=ppt/tags/tag45.xml><?xml version="1.0" encoding="utf-8"?>
<p:tagLst xmlns:a="http://schemas.openxmlformats.org/drawingml/2006/main" xmlns:r="http://schemas.openxmlformats.org/officeDocument/2006/relationships" xmlns:p="http://schemas.openxmlformats.org/presentationml/2006/main">
  <p:tag name="BREITE" val="150"/>
  <p:tag name="HOEHE" val="157,4008"/>
  <p:tag name="ICONSECONDCOLOR" val="16777215"/>
</p:tagLst>
</file>

<file path=ppt/tags/tag46.xml><?xml version="1.0" encoding="utf-8"?>
<p:tagLst xmlns:a="http://schemas.openxmlformats.org/drawingml/2006/main" xmlns:r="http://schemas.openxmlformats.org/officeDocument/2006/relationships" xmlns:p="http://schemas.openxmlformats.org/presentationml/2006/main">
  <p:tag name="AUTOSHAPETYPE" val="1"/>
</p:tagLst>
</file>

<file path=ppt/tags/tag47.xml><?xml version="1.0" encoding="utf-8"?>
<p:tagLst xmlns:a="http://schemas.openxmlformats.org/drawingml/2006/main" xmlns:r="http://schemas.openxmlformats.org/officeDocument/2006/relationships" xmlns:p="http://schemas.openxmlformats.org/presentationml/2006/main">
  <p:tag name="EASYCOUNT" val=";144.;145.;146.;147.;148.;149.;150.;151.;152.;153.;154.;155.;156."/>
</p:tagLst>
</file>

<file path=ppt/tags/tag48.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49.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5.xml><?xml version="1.0" encoding="utf-8"?>
<p:tagLst xmlns:a="http://schemas.openxmlformats.org/drawingml/2006/main" xmlns:r="http://schemas.openxmlformats.org/officeDocument/2006/relationships" xmlns:p="http://schemas.openxmlformats.org/presentationml/2006/main">
  <p:tag name="EASYCOUNT" val=";227.;228."/>
</p:tagLst>
</file>

<file path=ppt/tags/tag50.xml><?xml version="1.0" encoding="utf-8"?>
<p:tagLst xmlns:a="http://schemas.openxmlformats.org/drawingml/2006/main" xmlns:r="http://schemas.openxmlformats.org/officeDocument/2006/relationships" xmlns:p="http://schemas.openxmlformats.org/presentationml/2006/main">
  <p:tag name="BREITE" val="1181,102"/>
  <p:tag name="HOEHE" val="1181,102"/>
  <p:tag name="ICONSECONDCOLOR" val="16777215"/>
</p:tagLst>
</file>

<file path=ppt/tags/tag51.xml><?xml version="1.0" encoding="utf-8"?>
<p:tagLst xmlns:a="http://schemas.openxmlformats.org/drawingml/2006/main" xmlns:r="http://schemas.openxmlformats.org/officeDocument/2006/relationships" xmlns:p="http://schemas.openxmlformats.org/presentationml/2006/main">
  <p:tag name="EASYCOUNT" val=";179."/>
  <p:tag name="TOP" val="513,8091"/>
  <p:tag name="LEFT" val="3,726614"/>
</p:tagLst>
</file>

<file path=ppt/tags/tag52.xml><?xml version="1.0" encoding="utf-8"?>
<p:tagLst xmlns:a="http://schemas.openxmlformats.org/drawingml/2006/main" xmlns:r="http://schemas.openxmlformats.org/officeDocument/2006/relationships" xmlns:p="http://schemas.openxmlformats.org/presentationml/2006/main">
  <p:tag name="AUTOSHAPETYPE" val="1"/>
</p:tagLst>
</file>

<file path=ppt/tags/tag53.xml><?xml version="1.0" encoding="utf-8"?>
<p:tagLst xmlns:a="http://schemas.openxmlformats.org/drawingml/2006/main" xmlns:r="http://schemas.openxmlformats.org/officeDocument/2006/relationships" xmlns:p="http://schemas.openxmlformats.org/presentationml/2006/main">
  <p:tag name="EASYCOUNT" val=";211.;212.;213.;214.;215.;216.;217.;218.;219.;220.;221.;222."/>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3U8yBN1FWKo25p6TeZpmQ"/>
</p:tagLst>
</file>

<file path=ppt/tags/tag56.xml><?xml version="1.0" encoding="utf-8"?>
<p:tagLst xmlns:a="http://schemas.openxmlformats.org/drawingml/2006/main" xmlns:r="http://schemas.openxmlformats.org/officeDocument/2006/relationships" xmlns:p="http://schemas.openxmlformats.org/presentationml/2006/main">
  <p:tag name="EASYCOUNT" val=";211."/>
</p:tagLst>
</file>

<file path=ppt/tags/tag57.xml><?xml version="1.0" encoding="utf-8"?>
<p:tagLst xmlns:a="http://schemas.openxmlformats.org/drawingml/2006/main" xmlns:r="http://schemas.openxmlformats.org/officeDocument/2006/relationships" xmlns:p="http://schemas.openxmlformats.org/presentationml/2006/main">
  <p:tag name="EASYCOUNT" val=";212."/>
</p:tagLst>
</file>

<file path=ppt/tags/tag58.xml><?xml version="1.0" encoding="utf-8"?>
<p:tagLst xmlns:a="http://schemas.openxmlformats.org/drawingml/2006/main" xmlns:r="http://schemas.openxmlformats.org/officeDocument/2006/relationships" xmlns:p="http://schemas.openxmlformats.org/presentationml/2006/main">
  <p:tag name="EASYCOUNT" val=";213."/>
</p:tagLst>
</file>

<file path=ppt/tags/tag59.xml><?xml version="1.0" encoding="utf-8"?>
<p:tagLst xmlns:a="http://schemas.openxmlformats.org/drawingml/2006/main" xmlns:r="http://schemas.openxmlformats.org/officeDocument/2006/relationships" xmlns:p="http://schemas.openxmlformats.org/presentationml/2006/main">
  <p:tag name="EASYCOUNT" val=";214.;215."/>
</p:tagLst>
</file>

<file path=ppt/tags/tag6.xml><?xml version="1.0" encoding="utf-8"?>
<p:tagLst xmlns:a="http://schemas.openxmlformats.org/drawingml/2006/main" xmlns:r="http://schemas.openxmlformats.org/officeDocument/2006/relationships" xmlns:p="http://schemas.openxmlformats.org/presentationml/2006/main">
  <p:tag name="EASYCOUNT" val=";229.;230.;231."/>
</p:tagLst>
</file>

<file path=ppt/tags/tag60.xml><?xml version="1.0" encoding="utf-8"?>
<p:tagLst xmlns:a="http://schemas.openxmlformats.org/drawingml/2006/main" xmlns:r="http://schemas.openxmlformats.org/officeDocument/2006/relationships" xmlns:p="http://schemas.openxmlformats.org/presentationml/2006/main">
  <p:tag name="EASYCOUNT" val=";216.;217."/>
</p:tagLst>
</file>

<file path=ppt/tags/tag61.xml><?xml version="1.0" encoding="utf-8"?>
<p:tagLst xmlns:a="http://schemas.openxmlformats.org/drawingml/2006/main" xmlns:r="http://schemas.openxmlformats.org/officeDocument/2006/relationships" xmlns:p="http://schemas.openxmlformats.org/presentationml/2006/main">
  <p:tag name="EASYCOUNT" val=";218.;219."/>
</p:tagLst>
</file>

<file path=ppt/tags/tag62.xml><?xml version="1.0" encoding="utf-8"?>
<p:tagLst xmlns:a="http://schemas.openxmlformats.org/drawingml/2006/main" xmlns:r="http://schemas.openxmlformats.org/officeDocument/2006/relationships" xmlns:p="http://schemas.openxmlformats.org/presentationml/2006/main">
  <p:tag name="EASYCOUNT" val=";221.;222."/>
</p:tagLst>
</file>

<file path=ppt/tags/tag63.xml><?xml version="1.0" encoding="utf-8"?>
<p:tagLst xmlns:a="http://schemas.openxmlformats.org/drawingml/2006/main" xmlns:r="http://schemas.openxmlformats.org/officeDocument/2006/relationships" xmlns:p="http://schemas.openxmlformats.org/presentationml/2006/main">
  <p:tag name="EASYCOUNT" val=";220."/>
</p:tagLst>
</file>

<file path=ppt/tags/tag64.xml><?xml version="1.0" encoding="utf-8"?>
<p:tagLst xmlns:a="http://schemas.openxmlformats.org/drawingml/2006/main" xmlns:r="http://schemas.openxmlformats.org/officeDocument/2006/relationships" xmlns:p="http://schemas.openxmlformats.org/presentationml/2006/main">
  <p:tag name="EASYCOUNT" val=";223.;224.;225.;226.;227.;228.;229.;230.;231.;232.;233.;234.;235.;236.;237.;239.;240.;241.;242.;243.;244.;245.;246.;247.;248.;249.;250.;251.;252.;253.;239.;240.;241.;242.;243.;244.;245.;246.;247.;248.;249.;250.;251.;252.;253."/>
  <p:tag name="BREITE" val="313,9722"/>
  <p:tag name="HOEHE" val="313,5313"/>
</p:tagLst>
</file>

<file path=ppt/tags/tag65.xml><?xml version="1.0" encoding="utf-8"?>
<p:tagLst xmlns:a="http://schemas.openxmlformats.org/drawingml/2006/main" xmlns:r="http://schemas.openxmlformats.org/officeDocument/2006/relationships" xmlns:p="http://schemas.openxmlformats.org/presentationml/2006/main">
  <p:tag name="BREITE" val="140,0003"/>
  <p:tag name="HOEHE" val="140,0003"/>
  <p:tag name="ICONSECONDCOLOR" val="16777215"/>
</p:tagLst>
</file>

<file path=ppt/tags/tag66.xml><?xml version="1.0" encoding="utf-8"?>
<p:tagLst xmlns:a="http://schemas.openxmlformats.org/drawingml/2006/main" xmlns:r="http://schemas.openxmlformats.org/officeDocument/2006/relationships" xmlns:p="http://schemas.openxmlformats.org/presentationml/2006/main">
  <p:tag name="BREITE" val="140,0003"/>
  <p:tag name="HOEHE" val="140,0003"/>
  <p:tag name="ICONSECONDCOLOR" val="16777215"/>
</p:tagLst>
</file>

<file path=ppt/tags/tag67.xml><?xml version="1.0" encoding="utf-8"?>
<p:tagLst xmlns:a="http://schemas.openxmlformats.org/drawingml/2006/main" xmlns:r="http://schemas.openxmlformats.org/officeDocument/2006/relationships" xmlns:p="http://schemas.openxmlformats.org/presentationml/2006/main">
  <p:tag name="EASYCHECK" val=";OWFC"/>
</p:tagLst>
</file>

<file path=ppt/tags/tag68.xml><?xml version="1.0" encoding="utf-8"?>
<p:tagLst xmlns:a="http://schemas.openxmlformats.org/drawingml/2006/main" xmlns:r="http://schemas.openxmlformats.org/officeDocument/2006/relationships" xmlns:p="http://schemas.openxmlformats.org/presentationml/2006/main">
  <p:tag name="AUTOSHAPETYPE" val="1"/>
</p:tagLst>
</file>

<file path=ppt/tags/tag7.xml><?xml version="1.0" encoding="utf-8"?>
<p:tagLst xmlns:a="http://schemas.openxmlformats.org/drawingml/2006/main" xmlns:r="http://schemas.openxmlformats.org/officeDocument/2006/relationships" xmlns:p="http://schemas.openxmlformats.org/presentationml/2006/main">
  <p:tag name="EASYCOUNT" val=";232.;233."/>
</p:tagLst>
</file>

<file path=ppt/tags/tag8.xml><?xml version="1.0" encoding="utf-8"?>
<p:tagLst xmlns:a="http://schemas.openxmlformats.org/drawingml/2006/main" xmlns:r="http://schemas.openxmlformats.org/officeDocument/2006/relationships" xmlns:p="http://schemas.openxmlformats.org/presentationml/2006/main">
  <p:tag name="EASYCOUNT" val=";234.;235."/>
</p:tagLst>
</file>

<file path=ppt/tags/tag9.xml><?xml version="1.0" encoding="utf-8"?>
<p:tagLst xmlns:a="http://schemas.openxmlformats.org/drawingml/2006/main" xmlns:r="http://schemas.openxmlformats.org/officeDocument/2006/relationships" xmlns:p="http://schemas.openxmlformats.org/presentationml/2006/main">
  <p:tag name="EASYCOUNT" val=";237.;238."/>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A Template_16 9" id="{1FA06BF8-E46F-4CD9-8CE3-4303FB0721F5}" vid="{2B16241D-3B5A-42C8-9CE3-D9E541A6AAB5}"/>
    </a:ext>
  </a:extLst>
</a:theme>
</file>

<file path=ppt/theme/theme2.xml><?xml version="1.0" encoding="utf-8"?>
<a:theme xmlns:a="http://schemas.openxmlformats.org/drawingml/2006/main" name="Title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1BC3C816-5813-45CE-BD3D-6E3CAAFFAED3}"/>
    </a:ext>
  </a:extLst>
</a:theme>
</file>

<file path=ppt/theme/theme3.xml><?xml version="1.0" encoding="utf-8"?>
<a:theme xmlns:a="http://schemas.openxmlformats.org/drawingml/2006/main" name="Content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B6D51653-5D8F-4A8B-9BFA-1B05C355D8D1}"/>
    </a:ext>
  </a:extLst>
</a:theme>
</file>

<file path=ppt/theme/theme4.xml><?xml version="1.0" encoding="utf-8"?>
<a:theme xmlns:a="http://schemas.openxmlformats.org/drawingml/2006/main" name="Closing Slide Dark Blue">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DB6CC19F-BFBF-4917-A9A3-F9FC96D1268A}"/>
    </a:ext>
  </a:extLst>
</a:theme>
</file>

<file path=ppt/theme/theme5.xml><?xml version="1.0" encoding="utf-8"?>
<a:theme xmlns:a="http://schemas.openxmlformats.org/drawingml/2006/main" name="Presentation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lides 2">
  <a:themeElements>
    <a:clrScheme name="Corporate FRET">
      <a:dk1>
        <a:srgbClr val="58585A"/>
      </a:dk1>
      <a:lt1>
        <a:srgbClr val="FFFFFF"/>
      </a:lt1>
      <a:dk2>
        <a:srgbClr val="58585A"/>
      </a:dk2>
      <a:lt2>
        <a:srgbClr val="FFFFFF"/>
      </a:lt2>
      <a:accent1>
        <a:srgbClr val="55B948"/>
      </a:accent1>
      <a:accent2>
        <a:srgbClr val="B80031"/>
      </a:accent2>
      <a:accent3>
        <a:srgbClr val="FFFFFF"/>
      </a:accent3>
      <a:accent4>
        <a:srgbClr val="FFFFFF"/>
      </a:accent4>
      <a:accent5>
        <a:srgbClr val="FFFFFF"/>
      </a:accent5>
      <a:accent6>
        <a:srgbClr val="FFFFFF"/>
      </a:accent6>
      <a:hlink>
        <a:srgbClr val="B80031"/>
      </a:hlink>
      <a:folHlink>
        <a:srgbClr val="B8003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DB">
  <a:themeElements>
    <a:clrScheme name="DB Farben">
      <a:dk1>
        <a:sysClr val="windowText" lastClr="000000"/>
      </a:dk1>
      <a:lt1>
        <a:sysClr val="window" lastClr="FFFFFF"/>
      </a:lt1>
      <a:dk2>
        <a:srgbClr val="000000"/>
      </a:dk2>
      <a:lt2>
        <a:srgbClr val="878C96"/>
      </a:lt2>
      <a:accent1>
        <a:srgbClr val="D7DCE1"/>
      </a:accent1>
      <a:accent2>
        <a:srgbClr val="EC0016"/>
      </a:accent2>
      <a:accent3>
        <a:srgbClr val="F0F3F5"/>
      </a:accent3>
      <a:accent4>
        <a:srgbClr val="AFB4BB"/>
      </a:accent4>
      <a:accent5>
        <a:srgbClr val="3C414B"/>
      </a:accent5>
      <a:accent6>
        <a:srgbClr val="F0F3F5"/>
      </a:accent6>
      <a:hlink>
        <a:srgbClr val="3C414B"/>
      </a:hlink>
      <a:folHlink>
        <a:srgbClr val="878C96"/>
      </a:folHlink>
    </a:clrScheme>
    <a:fontScheme name="Benutzerdefiniert 104">
      <a:majorFont>
        <a:latin typeface="DB Head Black"/>
        <a:ea typeface=""/>
        <a:cs typeface=""/>
      </a:majorFont>
      <a:minorFont>
        <a:latin typeface="D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72000" tIns="72000" rIns="72000" bIns="72000" rtlCol="0" anchor="ctr"/>
      <a:lstStyle>
        <a:defPPr algn="ctr">
          <a:buClr>
            <a:schemeClr val="accent2"/>
          </a:buCl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AFB4BB"/>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975" indent="-180975" algn="l">
          <a:buClr>
            <a:schemeClr val="accent2"/>
          </a:buClr>
          <a:buFont typeface="DB Sans" panose="020B0502050202020204" pitchFamily="34" charset="0"/>
          <a:buChar char="‒"/>
          <a:defRPr sz="1600" dirty="0" err="1" smtClean="0"/>
        </a:defPPr>
      </a:lstStyle>
    </a:txDef>
  </a:objectDefaults>
  <a:extraClrSchemeLst/>
  <a:custClrLst>
    <a:custClr name="Yellow 700">
      <a:srgbClr val="FF9B00"/>
    </a:custClr>
    <a:custClr name="Orange 700">
      <a:srgbClr val="C05E00"/>
    </a:custClr>
    <a:custClr name="Red 700">
      <a:srgbClr val="9B000E"/>
    </a:custClr>
    <a:custClr name="Burgundry 700">
      <a:srgbClr val="641E32"/>
    </a:custClr>
    <a:custClr name="Pink 700">
      <a:srgbClr val="B80065"/>
    </a:custClr>
    <a:custClr name="Violett 700">
      <a:srgbClr val="581D70"/>
    </a:custClr>
    <a:custClr name="Blue 700">
      <a:srgbClr val="0A1E6E"/>
    </a:custClr>
    <a:custClr name="Cyan 700">
      <a:srgbClr val="0087B9"/>
    </a:custClr>
    <a:custClr name="Turquiose 700">
      <a:srgbClr val="006E6B"/>
    </a:custClr>
    <a:custClr name="Green 700">
      <a:srgbClr val="165C27"/>
    </a:custClr>
    <a:custClr name="Yellow 500">
      <a:srgbClr val="FFD800"/>
    </a:custClr>
    <a:custClr name="Orange 500">
      <a:srgbClr val="F39200"/>
    </a:custClr>
    <a:custClr name="Red 500">
      <a:srgbClr val="EC0016"/>
    </a:custClr>
    <a:custClr name="Burgundry 500">
      <a:srgbClr val="A9455D"/>
    </a:custClr>
    <a:custClr name="Pink 500">
      <a:srgbClr val="E93E8F"/>
    </a:custClr>
    <a:custClr name="Violett 500">
      <a:srgbClr val="814997"/>
    </a:custClr>
    <a:custClr name="Blue 500">
      <a:srgbClr val="1455C0"/>
    </a:custClr>
    <a:custClr name="Cyan 500">
      <a:srgbClr val="309FD1"/>
    </a:custClr>
    <a:custClr name="Turquiose 500">
      <a:srgbClr val="00A099"/>
    </a:custClr>
    <a:custClr name="Green 500">
      <a:srgbClr val="408335"/>
    </a:custClr>
    <a:custClr name="Yellow 300">
      <a:srgbClr val="FFF876"/>
    </a:custClr>
    <a:custClr name="Orange 300">
      <a:srgbClr val="FACA7F"/>
    </a:custClr>
    <a:custClr name="Red 300">
      <a:srgbClr val="FA9090"/>
    </a:custClr>
    <a:custClr name="Burgundry 300">
      <a:srgbClr val="DA9AA8"/>
    </a:custClr>
    <a:custClr name="Pink 300">
      <a:srgbClr val="F4AECE"/>
    </a:custClr>
    <a:custClr name="Violett 300">
      <a:srgbClr val="C2A1C7"/>
    </a:custClr>
    <a:custClr name="Blue 300">
      <a:srgbClr val="73AEF4"/>
    </a:custClr>
    <a:custClr name="Cyan 300">
      <a:srgbClr val="84CFEF"/>
    </a:custClr>
    <a:custClr name="Turquiose 300">
      <a:srgbClr val="83CACA"/>
    </a:custClr>
    <a:custClr name="Green 300">
      <a:srgbClr val="8CBC80"/>
    </a:custClr>
    <a:custClr name="Yellow 100">
      <a:srgbClr val="FFFFDC"/>
    </a:custClr>
    <a:custClr name="Orange 100">
      <a:srgbClr val="FFF4D8"/>
    </a:custClr>
    <a:custClr name="Red 100">
      <a:srgbClr val="FEE6E6"/>
    </a:custClr>
    <a:custClr name="Burgundry 100">
      <a:srgbClr val="F4E8ED"/>
    </a:custClr>
    <a:custClr name="Pink 100">
      <a:srgbClr val="FDEEF8"/>
    </a:custClr>
    <a:custClr name="Violett 100">
      <a:srgbClr val="F4EEFA"/>
    </a:custClr>
    <a:custClr name="Blue 100">
      <a:srgbClr val="E0EFFB"/>
    </a:custClr>
    <a:custClr name="Cyan 100">
      <a:srgbClr val="E5FAFF"/>
    </a:custClr>
    <a:custClr name="Turquiose 100">
      <a:srgbClr val="E3F5F4"/>
    </a:custClr>
    <a:custClr name="Green 100">
      <a:srgbClr val="E2F3E5"/>
    </a:custClr>
    <a:custClr name="Light Green 700">
      <a:srgbClr val="44741A"/>
    </a:custClr>
    <a:custClr name="Light Green 500">
      <a:srgbClr val="78BE14"/>
    </a:custClr>
    <a:custClr name="Light Green 300">
      <a:srgbClr val="9FD45F"/>
    </a:custClr>
    <a:custClr name="Light Green 100">
      <a:srgbClr val="EBF7DD"/>
    </a:custClr>
    <a:custClr name="Warm Grey 700">
      <a:srgbClr val="4F4B41"/>
    </a:custClr>
    <a:custClr name="Warm Grey 500">
      <a:srgbClr val="858379"/>
    </a:custClr>
    <a:custClr name="Warm Grey 300">
      <a:srgbClr val="BCBBB2"/>
    </a:custClr>
    <a:custClr name="Warm Grey 100">
      <a:srgbClr val="F5F4F1"/>
    </a:custClr>
    <a:custClr name="Black">
      <a:srgbClr val="000000"/>
    </a:custClr>
    <a:custClr name="White">
      <a:srgbClr val="FFFFFF"/>
    </a:custClr>
  </a:custClrLst>
  <a:extLst>
    <a:ext uri="{05A4C25C-085E-4340-85A3-A5531E510DB2}">
      <thm15:themeFamily xmlns:thm15="http://schemas.microsoft.com/office/thememl/2012/main" name="DB Konzern_16_9.potx" id="{6F92E19F-DDB5-4141-AE90-A39DB6CD8D97}" vid="{3B225F3C-A0B9-483B-B2A5-0E058C1A9FC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RA Template_16 9</Template>
  <TotalTime>356</TotalTime>
  <Words>2511</Words>
  <Application>Microsoft Office PowerPoint</Application>
  <PresentationFormat>Widescreen</PresentationFormat>
  <Paragraphs>504</Paragraphs>
  <Slides>31</Slides>
  <Notes>7</Notes>
  <HiddenSlides>1</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2</vt:i4>
      </vt:variant>
      <vt:variant>
        <vt:lpstr>Slide Titles</vt:lpstr>
      </vt:variant>
      <vt:variant>
        <vt:i4>31</vt:i4>
      </vt:variant>
    </vt:vector>
  </HeadingPairs>
  <TitlesOfParts>
    <vt:vector size="55" baseType="lpstr">
      <vt:lpstr>-apple-system</vt:lpstr>
      <vt:lpstr>Arial</vt:lpstr>
      <vt:lpstr>Calibri</vt:lpstr>
      <vt:lpstr>Calibri Light</vt:lpstr>
      <vt:lpstr>Courier New</vt:lpstr>
      <vt:lpstr>DB Head Alternate</vt:lpstr>
      <vt:lpstr>DB Head Black</vt:lpstr>
      <vt:lpstr>DB Head Light</vt:lpstr>
      <vt:lpstr>DB Office</vt:lpstr>
      <vt:lpstr>DB Sans</vt:lpstr>
      <vt:lpstr>Myriad Pro 1</vt:lpstr>
      <vt:lpstr>Myriad Pro 2</vt:lpstr>
      <vt:lpstr>Symbol</vt:lpstr>
      <vt:lpstr>Times New Roman</vt:lpstr>
      <vt:lpstr>Wingdings</vt:lpstr>
      <vt:lpstr>Office Theme</vt:lpstr>
      <vt:lpstr>Title Slides</vt:lpstr>
      <vt:lpstr>Content Slides</vt:lpstr>
      <vt:lpstr>Closing Slide Dark Blue</vt:lpstr>
      <vt:lpstr>Presentation cover</vt:lpstr>
      <vt:lpstr>Slides 2</vt:lpstr>
      <vt:lpstr>DB</vt:lpstr>
      <vt:lpstr>think-cell Slide</vt:lpstr>
      <vt:lpstr>think-cell Folie</vt:lpstr>
      <vt:lpstr>Conference - Integration of Human and Organisational Factors: Managing Workload and Fatigue</vt:lpstr>
      <vt:lpstr>PowerPoint Presentation</vt:lpstr>
      <vt:lpstr>Speakers – 7 December 2022</vt:lpstr>
      <vt:lpstr>Speakers – 7 December 2022</vt:lpstr>
      <vt:lpstr>Conference - Integration of Human and Organisational Factors: Managing Workload and Fatigue</vt:lpstr>
      <vt:lpstr>Speakers – 7 December 2022</vt:lpstr>
      <vt:lpstr>Human Factors &amp; Workload management @ Regio</vt:lpstr>
      <vt:lpstr>Building the strong safety culture by way of an action plan at DB Regio</vt:lpstr>
      <vt:lpstr>Safety culture in everyday life: Attentiveness towards one's own performance</vt:lpstr>
      <vt:lpstr>Picking up the RSSB Underload Toolbox in the UIC Human Factors Working Group and adapting it for use at DB Regio in a German context</vt:lpstr>
      <vt:lpstr>Onepager for drivers: Increase your attention through risk triggered commentary!</vt:lpstr>
      <vt:lpstr>A very well liked drink on the railway or any other shift based industry is coffee</vt:lpstr>
      <vt:lpstr>Attention@DB: The training works by promoting crucial psychological skills</vt:lpstr>
      <vt:lpstr>Fair communication at DB Cargo UK: we have professional driving standards, looked at by indicators and open feedback to drivers</vt:lpstr>
      <vt:lpstr>PowerPoint Presentation</vt:lpstr>
      <vt:lpstr>Conference - Integration of Human and Organisational Factors: Managing Workload and Fatigue</vt:lpstr>
      <vt:lpstr>Speakers – 7 December 2022</vt:lpstr>
      <vt:lpstr>Human and Organisational Factors in Maintenance  Geoffrey TRESONTANI / CFL cargo  ERA HOF conference 2022  </vt:lpstr>
      <vt:lpstr>Our company </vt:lpstr>
      <vt:lpstr>Human and Organisational Factors in Maintenance</vt:lpstr>
      <vt:lpstr>CFL cargo ‘s ROLLING STOCK ORGANISATION</vt:lpstr>
      <vt:lpstr>MAINTENANCE SYSTEM … HEAD AND ARMS</vt:lpstr>
      <vt:lpstr>MAINTENANCE SYSTEM INTERACTIONS</vt:lpstr>
      <vt:lpstr>MAINTENANCE SYSTEM PERFORMANCE</vt:lpstr>
      <vt:lpstr>MAINTENANCE ORGANISATION and HOF</vt:lpstr>
      <vt:lpstr>FATIGUE and STRESS IMPACTS</vt:lpstr>
      <vt:lpstr>FATIGUE and STRESS PRECURSORS</vt:lpstr>
      <vt:lpstr>FATIGUE and WORKLOAD MANAGEMENT</vt:lpstr>
      <vt:lpstr>FATIGUE and WORKLOAD MANAGEMEN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erence - Integration of Human and Organisational Factors: Managing Workload and Fatigue</dc:title>
  <dc:creator>LAGAIZE DAVOINE Clarisse</dc:creator>
  <cp:lastModifiedBy>LAGAIZE DAVOINE Clarisse</cp:lastModifiedBy>
  <cp:revision>2</cp:revision>
  <dcterms:created xsi:type="dcterms:W3CDTF">2022-11-23T09:04:09Z</dcterms:created>
  <dcterms:modified xsi:type="dcterms:W3CDTF">2022-12-12T13:20:00Z</dcterms:modified>
</cp:coreProperties>
</file>